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2362" r:id="rId5"/>
    <p:sldId id="2363" r:id="rId6"/>
    <p:sldId id="2364" r:id="rId7"/>
    <p:sldId id="2365" r:id="rId8"/>
    <p:sldId id="2353" r:id="rId9"/>
    <p:sldId id="2366" r:id="rId10"/>
  </p:sldIdLst>
  <p:sldSz cx="12192000" cy="6858000"/>
  <p:notesSz cx="6888163" cy="10020300"/>
  <p:custDataLst>
    <p:tags r:id="rId13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300"/>
    <a:srgbClr val="B7272E"/>
    <a:srgbClr val="3154A3"/>
    <a:srgbClr val="E4004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5342FE-8912-4C16-AAB5-E45CF9166E04}" v="4" dt="2020-11-30T08:49:19.6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2" autoAdjust="0"/>
    <p:restoredTop sz="89071" autoAdjust="0"/>
  </p:normalViewPr>
  <p:slideViewPr>
    <p:cSldViewPr snapToGrid="0">
      <p:cViewPr varScale="1">
        <p:scale>
          <a:sx n="141" d="100"/>
          <a:sy n="141" d="100"/>
        </p:scale>
        <p:origin x="133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4680" y="13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荒居 孝紀" userId="d893e96b-a7aa-4739-8b4a-908515f37dba" providerId="ADAL" clId="{B05342FE-8912-4C16-AAB5-E45CF9166E04}"/>
    <pc:docChg chg="undo custSel modSld">
      <pc:chgData name="荒居 孝紀" userId="d893e96b-a7aa-4739-8b4a-908515f37dba" providerId="ADAL" clId="{B05342FE-8912-4C16-AAB5-E45CF9166E04}" dt="2020-11-30T08:49:19.672" v="42" actId="164"/>
      <pc:docMkLst>
        <pc:docMk/>
      </pc:docMkLst>
      <pc:sldChg chg="addSp delSp modSp mod">
        <pc:chgData name="荒居 孝紀" userId="d893e96b-a7aa-4739-8b4a-908515f37dba" providerId="ADAL" clId="{B05342FE-8912-4C16-AAB5-E45CF9166E04}" dt="2020-11-30T08:49:19.672" v="42" actId="164"/>
        <pc:sldMkLst>
          <pc:docMk/>
          <pc:sldMk cId="2855859838" sldId="2363"/>
        </pc:sldMkLst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6" creationId="{E6A56447-B9DF-4002-9B9B-1735638A6AC3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13" creationId="{93156AF2-E191-48DB-BE3A-732C84892279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35" creationId="{58BE7AD8-5028-4852-B07E-07C951DA058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36" creationId="{9E945525-BBF8-4187-9DB3-7EE05164A8A5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37" creationId="{42BD8A33-348A-4980-AB72-96A82F8F6DB7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40" creationId="{AAB3B2D5-135C-4920-8B9C-339738D0272F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53" creationId="{EA739A6D-AB6B-4349-8CA7-9BAA967083F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0" creationId="{DE280D84-933B-47AB-BBB8-B1F4BE4574BD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1" creationId="{830047B2-96B4-4505-8195-ABD7FB60D8E7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2" creationId="{C5531AEA-8D4C-4BB8-9254-3AD00CB012D0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73" creationId="{D4D9A920-BB1B-46EA-B258-67FA2FF2246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5" creationId="{0AB9E821-99DC-4E38-ADAB-635F3C76C789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8" creationId="{36785BAF-F5A5-41AF-B9BD-131FEC16EEB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9" creationId="{0F8F4162-DA5C-4389-BD3F-1EC5CEDDDEF1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87" creationId="{66317862-F428-4E62-A766-E6D9A06B8221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88" creationId="{5989BB1C-3EDD-4120-8863-39FE24DD1A2D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89" creationId="{21F904C4-16A7-4A84-AB75-FE4C1EDFC333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90" creationId="{CBD4E75B-99C4-4009-9EF7-7A92E3F1DD68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91" creationId="{4FA61FB9-205C-496C-B8FD-F7D7C9B40322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102" creationId="{48A35D9D-6CAB-4141-9CE3-F66500B2E47C}"/>
          </ac:spMkLst>
        </pc:spChg>
        <pc:spChg chg="mod">
          <ac:chgData name="荒居 孝紀" userId="d893e96b-a7aa-4739-8b4a-908515f37dba" providerId="ADAL" clId="{B05342FE-8912-4C16-AAB5-E45CF9166E04}" dt="2020-11-30T08:47:09.906" v="0" actId="165"/>
          <ac:spMkLst>
            <pc:docMk/>
            <pc:sldMk cId="2855859838" sldId="2363"/>
            <ac:spMk id="149" creationId="{50566676-3CB5-4050-A573-3CB6CE07D610}"/>
          </ac:spMkLst>
        </pc:spChg>
        <pc:spChg chg="mod">
          <ac:chgData name="荒居 孝紀" userId="d893e96b-a7aa-4739-8b4a-908515f37dba" providerId="ADAL" clId="{B05342FE-8912-4C16-AAB5-E45CF9166E04}" dt="2020-11-30T08:47:09.906" v="0" actId="165"/>
          <ac:spMkLst>
            <pc:docMk/>
            <pc:sldMk cId="2855859838" sldId="2363"/>
            <ac:spMk id="150" creationId="{BA97BC8F-D96F-421E-8158-EFCF6EFD22DB}"/>
          </ac:spMkLst>
        </pc:spChg>
        <pc:spChg chg="mod">
          <ac:chgData name="荒居 孝紀" userId="d893e96b-a7aa-4739-8b4a-908515f37dba" providerId="ADAL" clId="{B05342FE-8912-4C16-AAB5-E45CF9166E04}" dt="2020-11-30T08:47:09.906" v="0" actId="165"/>
          <ac:spMkLst>
            <pc:docMk/>
            <pc:sldMk cId="2855859838" sldId="2363"/>
            <ac:spMk id="151" creationId="{00D641C9-0F94-48B5-97D0-53554294B28B}"/>
          </ac:spMkLst>
        </pc:spChg>
        <pc:spChg chg="mod">
          <ac:chgData name="荒居 孝紀" userId="d893e96b-a7aa-4739-8b4a-908515f37dba" providerId="ADAL" clId="{B05342FE-8912-4C16-AAB5-E45CF9166E04}" dt="2020-11-30T08:47:09.906" v="0" actId="165"/>
          <ac:spMkLst>
            <pc:docMk/>
            <pc:sldMk cId="2855859838" sldId="2363"/>
            <ac:spMk id="155" creationId="{B8C2069C-34BE-48B1-9A72-0795281A05F3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58" creationId="{425FCD91-73D1-476B-BC2B-F5BB94982AC7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59" creationId="{A32D81EC-1964-459A-A3B1-1B86F6B9AE79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60" creationId="{402BB603-08F1-44E3-B388-06ECC8F5EB22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61" creationId="{D2A467DA-97D7-445C-8E64-EE32F632E2CD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77" creationId="{1646E24A-949E-4EEF-B750-85FD29CF263F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78" creationId="{A46396CD-1A6D-486F-B000-91C7E1A3D8D3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79" creationId="{1A583CD2-5704-4C19-966E-C927BD7B16F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80" creationId="{2EE32D58-581F-4A16-A4ED-B781469D68B9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87" creationId="{7AD4B435-9714-4689-979E-B7FE61A267BD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88" creationId="{CC638ABB-0686-459A-A6FC-7D3D1AF5611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90" creationId="{F99ED3DC-50DE-4A2D-81BA-68C129FB98B4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92" creationId="{B97DDA31-4D26-46C9-87D4-1F39B05E3554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2" creationId="{CB560C50-1C32-4838-8009-E91C975E381F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3" creationId="{8DA09812-98BB-4EBF-84B4-B12FE1291CA7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4" creationId="{80238836-C9F7-4A08-BA18-56FB252A11E0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5" creationId="{C8971D01-C039-4331-A6EA-7338CE98458A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6" creationId="{B726430A-8F6C-4E16-9B8C-405EECA57EB2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7" creationId="{A99C9F24-0E58-417B-87EF-3CF08D010B0A}"/>
          </ac:spMkLst>
        </pc:spChg>
        <pc:spChg chg="del mod topLvl">
          <ac:chgData name="荒居 孝紀" userId="d893e96b-a7aa-4739-8b4a-908515f37dba" providerId="ADAL" clId="{B05342FE-8912-4C16-AAB5-E45CF9166E04}" dt="2020-11-30T08:47:13.238" v="1" actId="478"/>
          <ac:spMkLst>
            <pc:docMk/>
            <pc:sldMk cId="2855859838" sldId="2363"/>
            <ac:spMk id="231" creationId="{2392A411-DDB3-4E8A-9ACC-F83FBB775243}"/>
          </ac:spMkLst>
        </pc:spChg>
        <pc:spChg chg="del mod topLvl">
          <ac:chgData name="荒居 孝紀" userId="d893e96b-a7aa-4739-8b4a-908515f37dba" providerId="ADAL" clId="{B05342FE-8912-4C16-AAB5-E45CF9166E04}" dt="2020-11-30T08:47:14.576" v="2" actId="478"/>
          <ac:spMkLst>
            <pc:docMk/>
            <pc:sldMk cId="2855859838" sldId="2363"/>
            <ac:spMk id="237" creationId="{3FF49EAB-518D-46EB-8700-1178B6C9B307}"/>
          </ac:spMkLst>
        </pc:spChg>
        <pc:spChg chg="del mod topLvl">
          <ac:chgData name="荒居 孝紀" userId="d893e96b-a7aa-4739-8b4a-908515f37dba" providerId="ADAL" clId="{B05342FE-8912-4C16-AAB5-E45CF9166E04}" dt="2020-11-30T08:47:33.634" v="13" actId="478"/>
          <ac:spMkLst>
            <pc:docMk/>
            <pc:sldMk cId="2855859838" sldId="2363"/>
            <ac:spMk id="244" creationId="{9B3E1D7B-9CF2-403A-B030-ECC091C8E84F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57" creationId="{34023228-2CB5-48C2-8812-87950FBC766A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60" creationId="{E236B3B9-060B-4DD6-82E5-F9BD13A6891F}"/>
          </ac:spMkLst>
        </pc:spChg>
        <pc:grpChg chg="mod topLvl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5" creationId="{EA0259D3-CFCC-4A91-9680-64AE6F066B3C}"/>
          </ac:grpSpMkLst>
        </pc:grpChg>
        <pc:grpChg chg="del">
          <ac:chgData name="荒居 孝紀" userId="d893e96b-a7aa-4739-8b4a-908515f37dba" providerId="ADAL" clId="{B05342FE-8912-4C16-AAB5-E45CF9166E04}" dt="2020-11-30T08:47:09.906" v="0" actId="165"/>
          <ac:grpSpMkLst>
            <pc:docMk/>
            <pc:sldMk cId="2855859838" sldId="2363"/>
            <ac:grpSpMk id="7" creationId="{0E9FDAF8-EE91-4DCE-87B8-6BE5354338EE}"/>
          </ac:grpSpMkLst>
        </pc:grpChg>
        <pc:grpChg chg="add mod">
          <ac:chgData name="荒居 孝紀" userId="d893e96b-a7aa-4739-8b4a-908515f37dba" providerId="ADAL" clId="{B05342FE-8912-4C16-AAB5-E45CF9166E04}" dt="2020-11-30T08:49:14.258" v="41" actId="164"/>
          <ac:grpSpMkLst>
            <pc:docMk/>
            <pc:sldMk cId="2855859838" sldId="2363"/>
            <ac:grpSpMk id="14" creationId="{CC982FE2-03ED-4FAC-92E0-0A46F85BE643}"/>
          </ac:grpSpMkLst>
        </pc:grpChg>
        <pc:grpChg chg="add mod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15" creationId="{CFD3DA1C-80F2-4A22-B3BA-4E052FBEA2C2}"/>
          </ac:grpSpMkLst>
        </pc:grpChg>
        <pc:grpChg chg="mod">
          <ac:chgData name="荒居 孝紀" userId="d893e96b-a7aa-4739-8b4a-908515f37dba" providerId="ADAL" clId="{B05342FE-8912-4C16-AAB5-E45CF9166E04}" dt="2020-11-30T08:49:14.258" v="41" actId="164"/>
          <ac:grpSpMkLst>
            <pc:docMk/>
            <pc:sldMk cId="2855859838" sldId="2363"/>
            <ac:grpSpMk id="69" creationId="{B0986319-6E3E-44C2-841F-61778F48B6D1}"/>
          </ac:grpSpMkLst>
        </pc:grpChg>
        <pc:grpChg chg="mod topLvl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156" creationId="{7CB5D306-46B7-4F4F-B011-676A2005313D}"/>
          </ac:grpSpMkLst>
        </pc:grpChg>
        <pc:grpChg chg="mod topLvl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157" creationId="{E415BA7F-F5C1-46BF-875E-3815907BFCF5}"/>
          </ac:grpSpMkLst>
        </pc:grpChg>
        <pc:grpChg chg="mod topLvl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176" creationId="{2117C518-0D2C-4ACF-93D9-116D72F31BA3}"/>
          </ac:grpSpMkLst>
        </pc:grp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26" creationId="{2E38C2E5-7E65-4E02-832C-C43831A66C13}"/>
          </ac:cxnSpMkLst>
        </pc:cxnChg>
        <pc:cxnChg chg="mod">
          <ac:chgData name="荒居 孝紀" userId="d893e96b-a7aa-4739-8b4a-908515f37dba" providerId="ADAL" clId="{B05342FE-8912-4C16-AAB5-E45CF9166E04}" dt="2020-11-30T08:49:14.258" v="41" actId="164"/>
          <ac:cxnSpMkLst>
            <pc:docMk/>
            <pc:sldMk cId="2855859838" sldId="2363"/>
            <ac:cxnSpMk id="38" creationId="{825B459E-D7C1-4C18-88DC-C8B862C5D906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68" creationId="{462EA8BA-6FEE-4DE7-A777-BB69E8F04C7B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74" creationId="{A7F6FE4A-ACDA-457A-84B2-ED344D6D4380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95" creationId="{E7D376F1-D54F-4A35-A06C-A59E73BDD4D4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99" creationId="{74DAD6DD-538F-4881-992E-EA62FE3A677A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13" creationId="{1592ECED-D32E-420C-894F-F404C737E08A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16" creationId="{51EC1878-FC41-4E17-95E4-36F40E4EB526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21" creationId="{598F3559-F478-4D3F-894C-FEC42B44E45A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26" creationId="{3E3C616C-D534-476C-8404-BE07252B02DC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29" creationId="{417EA5F9-E482-4559-92B6-2F8C4F4EDE3F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32" creationId="{BFAEFCA0-DF88-4D0B-B0D4-75CBD5894854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38" creationId="{BC9EAC16-7802-4E74-B28B-9FB0D156ACDA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42" creationId="{3722A7B4-EEB9-4FD4-B28A-E34570991A78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45" creationId="{00320860-D655-4B33-987D-E947E653F594}"/>
          </ac:cxnSpMkLst>
        </pc:cxnChg>
        <pc:cxnChg chg="mod">
          <ac:chgData name="荒居 孝紀" userId="d893e96b-a7aa-4739-8b4a-908515f37dba" providerId="ADAL" clId="{B05342FE-8912-4C16-AAB5-E45CF9166E04}" dt="2020-11-30T08:49:14.258" v="41" actId="164"/>
          <ac:cxnSpMkLst>
            <pc:docMk/>
            <pc:sldMk cId="2855859838" sldId="2363"/>
            <ac:cxnSpMk id="189" creationId="{236A87A7-17F4-4BB0-8AA4-2904183422C3}"/>
          </ac:cxnSpMkLst>
        </pc:cxnChg>
        <pc:cxnChg chg="mod">
          <ac:chgData name="荒居 孝紀" userId="d893e96b-a7aa-4739-8b4a-908515f37dba" providerId="ADAL" clId="{B05342FE-8912-4C16-AAB5-E45CF9166E04}" dt="2020-11-30T08:49:14.258" v="41" actId="164"/>
          <ac:cxnSpMkLst>
            <pc:docMk/>
            <pc:sldMk cId="2855859838" sldId="2363"/>
            <ac:cxnSpMk id="191" creationId="{612789F1-A4EE-4825-B33D-43A8F7AC3BF5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245" creationId="{EA81E642-25AF-46EF-8FBF-85411EDA3636}"/>
          </ac:cxnSpMkLst>
        </pc:cxnChg>
      </pc:sldChg>
    </pc:docChg>
  </pc:docChgLst>
  <pc:docChgLst>
    <pc:chgData name="荒居 孝紀" userId="d893e96b-a7aa-4739-8b4a-908515f37dba" providerId="ADAL" clId="{F90690C1-6691-4A8D-A80D-2207935A2754}"/>
    <pc:docChg chg="delSld">
      <pc:chgData name="荒居 孝紀" userId="d893e96b-a7aa-4739-8b4a-908515f37dba" providerId="ADAL" clId="{F90690C1-6691-4A8D-A80D-2207935A2754}" dt="2020-11-02T03:56:21.659" v="4" actId="2696"/>
      <pc:docMkLst>
        <pc:docMk/>
      </pc:docMkLst>
      <pc:sldChg chg="del">
        <pc:chgData name="荒居 孝紀" userId="d893e96b-a7aa-4739-8b4a-908515f37dba" providerId="ADAL" clId="{F90690C1-6691-4A8D-A80D-2207935A2754}" dt="2020-11-02T03:56:21.630" v="1" actId="2696"/>
        <pc:sldMkLst>
          <pc:docMk/>
          <pc:sldMk cId="1298470475" sldId="2353"/>
        </pc:sldMkLst>
      </pc:sldChg>
      <pc:sldChg chg="del">
        <pc:chgData name="荒居 孝紀" userId="d893e96b-a7aa-4739-8b4a-908515f37dba" providerId="ADAL" clId="{F90690C1-6691-4A8D-A80D-2207935A2754}" dt="2020-11-02T03:56:21.647" v="2" actId="2696"/>
        <pc:sldMkLst>
          <pc:docMk/>
          <pc:sldMk cId="1211512306" sldId="2357"/>
        </pc:sldMkLst>
      </pc:sldChg>
      <pc:sldChg chg="del">
        <pc:chgData name="荒居 孝紀" userId="d893e96b-a7aa-4739-8b4a-908515f37dba" providerId="ADAL" clId="{F90690C1-6691-4A8D-A80D-2207935A2754}" dt="2020-11-02T03:56:21.659" v="4" actId="2696"/>
        <pc:sldMkLst>
          <pc:docMk/>
          <pc:sldMk cId="2716289554" sldId="2358"/>
        </pc:sldMkLst>
      </pc:sldChg>
      <pc:sldChg chg="del">
        <pc:chgData name="荒居 孝紀" userId="d893e96b-a7aa-4739-8b4a-908515f37dba" providerId="ADAL" clId="{F90690C1-6691-4A8D-A80D-2207935A2754}" dt="2020-11-02T03:56:21.651" v="3" actId="2696"/>
        <pc:sldMkLst>
          <pc:docMk/>
          <pc:sldMk cId="2711885548" sldId="2359"/>
        </pc:sldMkLst>
      </pc:sldChg>
      <pc:sldChg chg="del">
        <pc:chgData name="荒居 孝紀" userId="d893e96b-a7aa-4739-8b4a-908515f37dba" providerId="ADAL" clId="{F90690C1-6691-4A8D-A80D-2207935A2754}" dt="2020-11-02T03:56:21.630" v="0" actId="2696"/>
        <pc:sldMkLst>
          <pc:docMk/>
          <pc:sldMk cId="3838190527" sldId="2361"/>
        </pc:sldMkLst>
      </pc:sldChg>
    </pc:docChg>
  </pc:docChgLst>
  <pc:docChgLst>
    <pc:chgData name="Takanori" userId="d893e96b-a7aa-4739-8b4a-908515f37dba" providerId="ADAL" clId="{F90690C1-6691-4A8D-A80D-2207935A2754}"/>
    <pc:docChg chg="undo custSel modSld">
      <pc:chgData name="Takanori" userId="d893e96b-a7aa-4739-8b4a-908515f37dba" providerId="ADAL" clId="{F90690C1-6691-4A8D-A80D-2207935A2754}" dt="2020-11-12T01:19:13.196" v="177" actId="164"/>
      <pc:docMkLst>
        <pc:docMk/>
      </pc:docMkLst>
      <pc:sldChg chg="addSp delSp modSp">
        <pc:chgData name="Takanori" userId="d893e96b-a7aa-4739-8b4a-908515f37dba" providerId="ADAL" clId="{F90690C1-6691-4A8D-A80D-2207935A2754}" dt="2020-11-12T01:19:13.196" v="177" actId="164"/>
        <pc:sldMkLst>
          <pc:docMk/>
          <pc:sldMk cId="2855859838" sldId="2363"/>
        </pc:sldMkLst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6" creationId="{E6A56447-B9DF-4002-9B9B-1735638A6AC3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13" creationId="{93156AF2-E191-48DB-BE3A-732C84892279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35" creationId="{58BE7AD8-5028-4852-B07E-07C951DA058C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36" creationId="{9E945525-BBF8-4187-9DB3-7EE05164A8A5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37" creationId="{42BD8A33-348A-4980-AB72-96A82F8F6DB7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40" creationId="{AAB3B2D5-135C-4920-8B9C-339738D0272F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53" creationId="{EA739A6D-AB6B-4349-8CA7-9BAA967083FC}"/>
          </ac:spMkLst>
        </pc:spChg>
        <pc:spChg chg="mod">
          <ac:chgData name="Takanori" userId="d893e96b-a7aa-4739-8b4a-908515f37dba" providerId="ADAL" clId="{F90690C1-6691-4A8D-A80D-2207935A2754}" dt="2020-11-12T01:16:14.435" v="136" actId="1035"/>
          <ac:spMkLst>
            <pc:docMk/>
            <pc:sldMk cId="2855859838" sldId="2363"/>
            <ac:spMk id="72" creationId="{C5531AEA-8D4C-4BB8-9254-3AD00CB012D0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73" creationId="{D4D9A920-BB1B-46EA-B258-67FA2FF2246C}"/>
          </ac:spMkLst>
        </pc:spChg>
        <pc:spChg chg="mod">
          <ac:chgData name="Takanori" userId="d893e96b-a7aa-4739-8b4a-908515f37dba" providerId="ADAL" clId="{F90690C1-6691-4A8D-A80D-2207935A2754}" dt="2020-11-12T01:15:57.866" v="130" actId="692"/>
          <ac:spMkLst>
            <pc:docMk/>
            <pc:sldMk cId="2855859838" sldId="2363"/>
            <ac:spMk id="75" creationId="{0AB9E821-99DC-4E38-ADAB-635F3C76C789}"/>
          </ac:spMkLst>
        </pc:spChg>
        <pc:spChg chg="add del mod">
          <ac:chgData name="Takanori" userId="d893e96b-a7aa-4739-8b4a-908515f37dba" providerId="ADAL" clId="{F90690C1-6691-4A8D-A80D-2207935A2754}" dt="2020-11-12T01:15:38.400" v="124" actId="478"/>
          <ac:spMkLst>
            <pc:docMk/>
            <pc:sldMk cId="2855859838" sldId="2363"/>
            <ac:spMk id="76" creationId="{222EFBA6-23F2-4236-BA9B-1C29A23BE080}"/>
          </ac:spMkLst>
        </pc:spChg>
        <pc:spChg chg="add del mod">
          <ac:chgData name="Takanori" userId="d893e96b-a7aa-4739-8b4a-908515f37dba" providerId="ADAL" clId="{F90690C1-6691-4A8D-A80D-2207935A2754}" dt="2020-11-12T01:15:37.160" v="123" actId="478"/>
          <ac:spMkLst>
            <pc:docMk/>
            <pc:sldMk cId="2855859838" sldId="2363"/>
            <ac:spMk id="77" creationId="{C3EFFC12-3EF4-48B9-9973-DC2836633638}"/>
          </ac:spMkLst>
        </pc:spChg>
        <pc:spChg chg="add mod">
          <ac:chgData name="Takanori" userId="d893e96b-a7aa-4739-8b4a-908515f37dba" providerId="ADAL" clId="{F90690C1-6691-4A8D-A80D-2207935A2754}" dt="2020-11-12T01:18:46.403" v="175" actId="14100"/>
          <ac:spMkLst>
            <pc:docMk/>
            <pc:sldMk cId="2855859838" sldId="2363"/>
            <ac:spMk id="78" creationId="{36785BAF-F5A5-41AF-B9BD-131FEC16EEBC}"/>
          </ac:spMkLst>
        </pc:spChg>
        <pc:spChg chg="add mod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79" creationId="{0F8F4162-DA5C-4389-BD3F-1EC5CEDDDEF1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87" creationId="{66317862-F428-4E62-A766-E6D9A06B8221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88" creationId="{5989BB1C-3EDD-4120-8863-39FE24DD1A2D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89" creationId="{21F904C4-16A7-4A84-AB75-FE4C1EDFC333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90" creationId="{CBD4E75B-99C4-4009-9EF7-7A92E3F1DD68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91" creationId="{4FA61FB9-205C-496C-B8FD-F7D7C9B40322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102" creationId="{48A35D9D-6CAB-4141-9CE3-F66500B2E47C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187" creationId="{7AD4B435-9714-4689-979E-B7FE61A267BD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188" creationId="{CC638ABB-0686-459A-A6FC-7D3D1AF5611C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190" creationId="{F99ED3DC-50DE-4A2D-81BA-68C129FB98B4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192" creationId="{B97DDA31-4D26-46C9-87D4-1F39B05E3554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2" creationId="{CB560C50-1C32-4838-8009-E91C975E381F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3" creationId="{8DA09812-98BB-4EBF-84B4-B12FE1291CA7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4" creationId="{80238836-C9F7-4A08-BA18-56FB252A11E0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5" creationId="{C8971D01-C039-4331-A6EA-7338CE98458A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6" creationId="{B726430A-8F6C-4E16-9B8C-405EECA57EB2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7" creationId="{A99C9F24-0E58-417B-87EF-3CF08D010B0A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31" creationId="{2392A411-DDB3-4E8A-9ACC-F83FBB775243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37" creationId="{3FF49EAB-518D-46EB-8700-1178B6C9B307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44" creationId="{9B3E1D7B-9CF2-403A-B030-ECC091C8E84F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57" creationId="{34023228-2CB5-48C2-8812-87950FBC766A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60" creationId="{E236B3B9-060B-4DD6-82E5-F9BD13A6891F}"/>
          </ac:spMkLst>
        </pc:spChg>
        <pc:grpChg chg="add mod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5" creationId="{EA0259D3-CFCC-4A91-9680-64AE6F066B3C}"/>
          </ac:grpSpMkLst>
        </pc:grpChg>
        <pc:grpChg chg="add mod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7" creationId="{0E9FDAF8-EE91-4DCE-87B8-6BE5354338EE}"/>
          </ac:grpSpMkLst>
        </pc:grpChg>
        <pc:grpChg chg="add mod">
          <ac:chgData name="Takanori" userId="d893e96b-a7aa-4739-8b4a-908515f37dba" providerId="ADAL" clId="{F90690C1-6691-4A8D-A80D-2207935A2754}" dt="2020-11-12T01:18:32.086" v="172" actId="164"/>
          <ac:grpSpMkLst>
            <pc:docMk/>
            <pc:sldMk cId="2855859838" sldId="2363"/>
            <ac:grpSpMk id="69" creationId="{B0986319-6E3E-44C2-841F-61778F48B6D1}"/>
          </ac:grpSpMkLst>
        </pc:grpChg>
        <pc:grpChg chg="mod topLvl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156" creationId="{7CB5D306-46B7-4F4F-B011-676A2005313D}"/>
          </ac:grpSpMkLst>
        </pc:grpChg>
        <pc:grpChg chg="mod topLvl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157" creationId="{E415BA7F-F5C1-46BF-875E-3815907BFCF5}"/>
          </ac:grpSpMkLst>
        </pc:grpChg>
        <pc:grpChg chg="mod topLvl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176" creationId="{2117C518-0D2C-4ACF-93D9-116D72F31BA3}"/>
          </ac:grpSpMkLst>
        </pc:grpChg>
        <pc:grpChg chg="del mod topLvl">
          <ac:chgData name="Takanori" userId="d893e96b-a7aa-4739-8b4a-908515f37dba" providerId="ADAL" clId="{F90690C1-6691-4A8D-A80D-2207935A2754}" dt="2020-11-12T01:16:25.475" v="137" actId="165"/>
          <ac:grpSpMkLst>
            <pc:docMk/>
            <pc:sldMk cId="2855859838" sldId="2363"/>
            <ac:grpSpMk id="220" creationId="{D55AAC1B-A532-4F33-90A4-0AE7FFB68637}"/>
          </ac:grpSpMkLst>
        </pc:grpChg>
        <pc:grpChg chg="del">
          <ac:chgData name="Takanori" userId="d893e96b-a7aa-4739-8b4a-908515f37dba" providerId="ADAL" clId="{F90690C1-6691-4A8D-A80D-2207935A2754}" dt="2020-11-12T01:15:27.422" v="121" actId="165"/>
          <ac:grpSpMkLst>
            <pc:docMk/>
            <pc:sldMk cId="2855859838" sldId="2363"/>
            <ac:grpSpMk id="261" creationId="{C25AED2C-DB77-45C0-B8C7-0CD278D4898A}"/>
          </ac:grpSpMkLst>
        </pc:grp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26" creationId="{2E38C2E5-7E65-4E02-832C-C43831A66C13}"/>
          </ac:cxnSpMkLst>
        </pc:cxnChg>
        <pc:cxnChg chg="mod topLvl">
          <ac:chgData name="Takanori" userId="d893e96b-a7aa-4739-8b4a-908515f37dba" providerId="ADAL" clId="{F90690C1-6691-4A8D-A80D-2207935A2754}" dt="2020-11-12T01:18:32.086" v="172" actId="164"/>
          <ac:cxnSpMkLst>
            <pc:docMk/>
            <pc:sldMk cId="2855859838" sldId="2363"/>
            <ac:cxnSpMk id="38" creationId="{825B459E-D7C1-4C18-88DC-C8B862C5D906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68" creationId="{462EA8BA-6FEE-4DE7-A777-BB69E8F04C7B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74" creationId="{A7F6FE4A-ACDA-457A-84B2-ED344D6D4380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95" creationId="{E7D376F1-D54F-4A35-A06C-A59E73BDD4D4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99" creationId="{74DAD6DD-538F-4881-992E-EA62FE3A677A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13" creationId="{1592ECED-D32E-420C-894F-F404C737E08A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16" creationId="{51EC1878-FC41-4E17-95E4-36F40E4EB526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21" creationId="{598F3559-F478-4D3F-894C-FEC42B44E45A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26" creationId="{3E3C616C-D534-476C-8404-BE07252B02DC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29" creationId="{417EA5F9-E482-4559-92B6-2F8C4F4EDE3F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32" creationId="{BFAEFCA0-DF88-4D0B-B0D4-75CBD5894854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38" creationId="{BC9EAC16-7802-4E74-B28B-9FB0D156ACDA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42" creationId="{3722A7B4-EEB9-4FD4-B28A-E34570991A78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45" creationId="{00320860-D655-4B33-987D-E947E653F594}"/>
          </ac:cxnSpMkLst>
        </pc:cxnChg>
        <pc:cxnChg chg="mod topLvl">
          <ac:chgData name="Takanori" userId="d893e96b-a7aa-4739-8b4a-908515f37dba" providerId="ADAL" clId="{F90690C1-6691-4A8D-A80D-2207935A2754}" dt="2020-11-12T01:18:32.086" v="172" actId="164"/>
          <ac:cxnSpMkLst>
            <pc:docMk/>
            <pc:sldMk cId="2855859838" sldId="2363"/>
            <ac:cxnSpMk id="189" creationId="{236A87A7-17F4-4BB0-8AA4-2904183422C3}"/>
          </ac:cxnSpMkLst>
        </pc:cxnChg>
        <pc:cxnChg chg="mod topLvl">
          <ac:chgData name="Takanori" userId="d893e96b-a7aa-4739-8b4a-908515f37dba" providerId="ADAL" clId="{F90690C1-6691-4A8D-A80D-2207935A2754}" dt="2020-11-12T01:18:32.086" v="172" actId="164"/>
          <ac:cxnSpMkLst>
            <pc:docMk/>
            <pc:sldMk cId="2855859838" sldId="2363"/>
            <ac:cxnSpMk id="191" creationId="{612789F1-A4EE-4825-B33D-43A8F7AC3BF5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245" creationId="{EA81E642-25AF-46EF-8FBF-85411EDA3636}"/>
          </ac:cxnSpMkLst>
        </pc:cxnChg>
      </pc:sldChg>
      <pc:sldChg chg="addSp delSp modSp">
        <pc:chgData name="Takanori" userId="d893e96b-a7aa-4739-8b4a-908515f37dba" providerId="ADAL" clId="{F90690C1-6691-4A8D-A80D-2207935A2754}" dt="2020-11-12T01:07:26.113" v="119" actId="164"/>
        <pc:sldMkLst>
          <pc:docMk/>
          <pc:sldMk cId="0" sldId="2364"/>
        </pc:sldMkLst>
        <pc:spChg chg="add 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95" creationId="{C884E667-C9C0-438F-B96A-C0C13EA1A438}"/>
          </ac:spMkLst>
        </pc:spChg>
        <pc:spChg chg="add 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96" creationId="{A2B17B31-BCEB-44DF-96B9-C6855634074A}"/>
          </ac:spMkLst>
        </pc:spChg>
        <pc:spChg chg="del mod">
          <ac:chgData name="Takanori" userId="d893e96b-a7aa-4739-8b4a-908515f37dba" providerId="ADAL" clId="{F90690C1-6691-4A8D-A80D-2207935A2754}" dt="2020-11-12T01:01:17.246" v="86" actId="478"/>
          <ac:spMkLst>
            <pc:docMk/>
            <pc:sldMk cId="0" sldId="2364"/>
            <ac:spMk id="120" creationId="{979659C3-B4D4-4068-BCFD-E004D17CE6B3}"/>
          </ac:spMkLst>
        </pc:spChg>
        <pc:spChg chg="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122" creationId="{EEC5212D-56DB-4D77-AA7D-DC13E946A1F8}"/>
          </ac:spMkLst>
        </pc:spChg>
        <pc:spChg chg="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124" creationId="{2AC91B8B-776C-4DA2-A782-2CFF9D932473}"/>
          </ac:spMkLst>
        </pc:spChg>
        <pc:spChg chg="add 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126" creationId="{0613EB85-DFD2-49C3-AF9A-8887762BA146}"/>
          </ac:spMkLst>
        </pc:spChg>
        <pc:spChg chg="add 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127" creationId="{50D39957-FDDB-4FFA-805C-2E26FB35DF67}"/>
          </ac:spMkLst>
        </pc:spChg>
        <pc:spChg chg="mod">
          <ac:chgData name="Takanori" userId="d893e96b-a7aa-4739-8b4a-908515f37dba" providerId="ADAL" clId="{F90690C1-6691-4A8D-A80D-2207935A2754}" dt="2020-11-12T01:01:04.937" v="73" actId="20577"/>
          <ac:spMkLst>
            <pc:docMk/>
            <pc:sldMk cId="0" sldId="2364"/>
            <ac:spMk id="147" creationId="{A7B071A1-85EE-48B3-9DBA-069C25186A96}"/>
          </ac:spMkLst>
        </pc:spChg>
        <pc:spChg chg="mod">
          <ac:chgData name="Takanori" userId="d893e96b-a7aa-4739-8b4a-908515f37dba" providerId="ADAL" clId="{F90690C1-6691-4A8D-A80D-2207935A2754}" dt="2020-11-12T01:01:14.801" v="85" actId="20577"/>
          <ac:spMkLst>
            <pc:docMk/>
            <pc:sldMk cId="0" sldId="2364"/>
            <ac:spMk id="148" creationId="{017320DE-8174-43F7-9AB6-0008C1D44D64}"/>
          </ac:spMkLst>
        </pc:s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40" creationId="{00000000-0000-0000-0000-000000000000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41" creationId="{00000000-0000-0000-0000-000000000000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51" creationId="{4BFDBF3E-8F64-41A3-A0EF-EE801615DD88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59" creationId="{00000000-0000-0000-0000-000000000000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65" creationId="{14C0D68E-B3E6-4443-B236-C871D756091D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74" creationId="{4E2012DF-AB73-4BC0-BF38-1A190FF3F1D1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81" creationId="{34EB6C02-9410-4047-ABA4-6335BAE8E83F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87" creationId="{B92DA028-8878-4143-BD61-F4395054C447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103" creationId="{00000000-0000-0000-0000-000000000000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109" creationId="{00000000-0000-0000-0000-000000000000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116" creationId="{E04335C6-B852-47A5-9121-74D2C511822F}"/>
          </ac:grpSpMkLst>
        </pc:grp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9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21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68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70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72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78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92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93" creationId="{00000000-0000-0000-0000-000000000000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99" creationId="{210CD4CD-0E00-4427-83D8-91F452E385CE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00" creationId="{1BA0C5C8-F613-42C9-98D1-9228F189CD65}"/>
          </ac:cxnSpMkLst>
        </pc:cxnChg>
        <pc:cxnChg chg="add del mod">
          <ac:chgData name="Takanori" userId="d893e96b-a7aa-4739-8b4a-908515f37dba" providerId="ADAL" clId="{F90690C1-6691-4A8D-A80D-2207935A2754}" dt="2020-11-12T01:00:18.857" v="45" actId="478"/>
          <ac:cxnSpMkLst>
            <pc:docMk/>
            <pc:sldMk cId="0" sldId="2364"/>
            <ac:cxnSpMk id="115" creationId="{4262EDAD-10FC-4C38-862D-70679BAE1ECE}"/>
          </ac:cxnSpMkLst>
        </pc:cxnChg>
        <pc:cxnChg chg="add del mod">
          <ac:chgData name="Takanori" userId="d893e96b-a7aa-4739-8b4a-908515f37dba" providerId="ADAL" clId="{F90690C1-6691-4A8D-A80D-2207935A2754}" dt="2020-11-12T01:00:18.857" v="45" actId="478"/>
          <ac:cxnSpMkLst>
            <pc:docMk/>
            <pc:sldMk cId="0" sldId="2364"/>
            <ac:cxnSpMk id="117" creationId="{12D6FDB6-0A9A-4956-AA9E-1DB30A46291B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18" creationId="{7AFA5465-414D-4BE9-A77A-D8D85E2A408B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19" creationId="{F2EE7CC5-0CC7-416A-9296-09761CF5C4B2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21" creationId="{757CDFD9-CA28-496F-88F9-3705166C4A3B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23" creationId="{EA6422DE-C28C-4800-8B41-F80DFCC3A9E5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25" creationId="{CAD2835B-A41B-4850-93BA-2228D6356A88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29" creationId="{5664D160-EC85-406E-B83F-ED7AD2F48433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31" creationId="{28791C4C-DC2C-4AB4-BD5D-C449CE41166C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32" creationId="{FB078CFC-FD10-4A47-A298-7425F1887F0A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73" creationId="{28791C4C-DC2C-4AB4-BD5D-C449CE41166C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74" creationId="{FB078CFC-FD10-4A47-A298-7425F1887F0A}"/>
          </ac:cxnSpMkLst>
        </pc:cxnChg>
      </pc:sldChg>
    </pc:docChg>
  </pc:docChgLst>
  <pc:docChgLst>
    <pc:chgData name="荒居 孝紀" userId="d893e96b-a7aa-4739-8b4a-908515f37dba" providerId="ADAL" clId="{6FE9F128-9CE9-4FCB-9530-772C433C7B79}"/>
    <pc:docChg chg="undo redo custSel addSld delSld modSld sldOrd">
      <pc:chgData name="荒居 孝紀" userId="d893e96b-a7aa-4739-8b4a-908515f37dba" providerId="ADAL" clId="{6FE9F128-9CE9-4FCB-9530-772C433C7B79}" dt="2020-10-29T05:03:35.178" v="2063"/>
      <pc:docMkLst>
        <pc:docMk/>
      </pc:docMkLst>
      <pc:sldChg chg="addSp delSp modSp">
        <pc:chgData name="荒居 孝紀" userId="d893e96b-a7aa-4739-8b4a-908515f37dba" providerId="ADAL" clId="{6FE9F128-9CE9-4FCB-9530-772C433C7B79}" dt="2020-10-21T01:37:55.330" v="1332" actId="115"/>
        <pc:sldMkLst>
          <pc:docMk/>
          <pc:sldMk cId="1298470475" sldId="2353"/>
        </pc:sldMkLst>
        <pc:spChg chg="mod">
          <ac:chgData name="荒居 孝紀" userId="d893e96b-a7aa-4739-8b4a-908515f37dba" providerId="ADAL" clId="{6FE9F128-9CE9-4FCB-9530-772C433C7B79}" dt="2020-10-21T01:13:36.766" v="214" actId="20577"/>
          <ac:spMkLst>
            <pc:docMk/>
            <pc:sldMk cId="1298470475" sldId="2353"/>
            <ac:spMk id="3" creationId="{66AD9DE4-14CE-A044-805F-D963D541EF36}"/>
          </ac:spMkLst>
        </pc:spChg>
        <pc:spChg chg="mod">
          <ac:chgData name="荒居 孝紀" userId="d893e96b-a7aa-4739-8b4a-908515f37dba" providerId="ADAL" clId="{6FE9F128-9CE9-4FCB-9530-772C433C7B79}" dt="2020-10-21T01:17:06.853" v="268" actId="552"/>
          <ac:spMkLst>
            <pc:docMk/>
            <pc:sldMk cId="1298470475" sldId="2353"/>
            <ac:spMk id="4" creationId="{B7888253-B6A9-B649-882F-3BD28464A330}"/>
          </ac:spMkLst>
        </pc:spChg>
        <pc:spChg chg="add del mod">
          <ac:chgData name="荒居 孝紀" userId="d893e96b-a7aa-4739-8b4a-908515f37dba" providerId="ADAL" clId="{6FE9F128-9CE9-4FCB-9530-772C433C7B79}" dt="2020-10-21T00:53:21.840" v="1" actId="11529"/>
          <ac:spMkLst>
            <pc:docMk/>
            <pc:sldMk cId="1298470475" sldId="2353"/>
            <ac:spMk id="5" creationId="{61786BFE-E116-4E7E-8782-2BF5438E6707}"/>
          </ac:spMkLst>
        </pc:spChg>
        <pc:spChg chg="add mod">
          <ac:chgData name="荒居 孝紀" userId="d893e96b-a7aa-4739-8b4a-908515f37dba" providerId="ADAL" clId="{6FE9F128-9CE9-4FCB-9530-772C433C7B79}" dt="2020-10-21T01:30:22.108" v="1153" actId="1038"/>
          <ac:spMkLst>
            <pc:docMk/>
            <pc:sldMk cId="1298470475" sldId="2353"/>
            <ac:spMk id="6" creationId="{1C2F6C1C-FAC9-4338-8CD7-F374F94A9BA0}"/>
          </ac:spMkLst>
        </pc:spChg>
        <pc:spChg chg="add mod">
          <ac:chgData name="荒居 孝紀" userId="d893e96b-a7aa-4739-8b4a-908515f37dba" providerId="ADAL" clId="{6FE9F128-9CE9-4FCB-9530-772C433C7B79}" dt="2020-10-21T01:30:22.108" v="1153" actId="1038"/>
          <ac:spMkLst>
            <pc:docMk/>
            <pc:sldMk cId="1298470475" sldId="2353"/>
            <ac:spMk id="7" creationId="{DD0E97B3-CEEE-40F2-8868-FFE8C0E34FC1}"/>
          </ac:spMkLst>
        </pc:spChg>
        <pc:spChg chg="add mod">
          <ac:chgData name="荒居 孝紀" userId="d893e96b-a7aa-4739-8b4a-908515f37dba" providerId="ADAL" clId="{6FE9F128-9CE9-4FCB-9530-772C433C7B79}" dt="2020-10-21T01:30:22.108" v="1153" actId="1038"/>
          <ac:spMkLst>
            <pc:docMk/>
            <pc:sldMk cId="1298470475" sldId="2353"/>
            <ac:spMk id="8" creationId="{D9B13375-9709-4767-8219-86C366895109}"/>
          </ac:spMkLst>
        </pc:spChg>
        <pc:spChg chg="add mod">
          <ac:chgData name="荒居 孝紀" userId="d893e96b-a7aa-4739-8b4a-908515f37dba" providerId="ADAL" clId="{6FE9F128-9CE9-4FCB-9530-772C433C7B79}" dt="2020-10-21T01:30:22.108" v="1153" actId="1038"/>
          <ac:spMkLst>
            <pc:docMk/>
            <pc:sldMk cId="1298470475" sldId="2353"/>
            <ac:spMk id="9" creationId="{B3D60590-471A-4D83-B8CD-C8B033E2058F}"/>
          </ac:spMkLst>
        </pc:spChg>
        <pc:spChg chg="add del mod">
          <ac:chgData name="荒居 孝紀" userId="d893e96b-a7aa-4739-8b4a-908515f37dba" providerId="ADAL" clId="{6FE9F128-9CE9-4FCB-9530-772C433C7B79}" dt="2020-10-21T01:33:14.535" v="1312" actId="478"/>
          <ac:spMkLst>
            <pc:docMk/>
            <pc:sldMk cId="1298470475" sldId="2353"/>
            <ac:spMk id="29" creationId="{0808770E-072B-4AF2-8A4C-D046AB312B62}"/>
          </ac:spMkLst>
        </pc:spChg>
        <pc:spChg chg="add del mod">
          <ac:chgData name="荒居 孝紀" userId="d893e96b-a7aa-4739-8b4a-908515f37dba" providerId="ADAL" clId="{6FE9F128-9CE9-4FCB-9530-772C433C7B79}" dt="2020-10-21T01:33:14.535" v="1312" actId="478"/>
          <ac:spMkLst>
            <pc:docMk/>
            <pc:sldMk cId="1298470475" sldId="2353"/>
            <ac:spMk id="30" creationId="{718C8AD6-EACA-47DC-BE3F-ADB31D9BAD00}"/>
          </ac:spMkLst>
        </pc:spChg>
        <pc:spChg chg="add del mod">
          <ac:chgData name="荒居 孝紀" userId="d893e96b-a7aa-4739-8b4a-908515f37dba" providerId="ADAL" clId="{6FE9F128-9CE9-4FCB-9530-772C433C7B79}" dt="2020-10-21T01:33:14.535" v="1312" actId="478"/>
          <ac:spMkLst>
            <pc:docMk/>
            <pc:sldMk cId="1298470475" sldId="2353"/>
            <ac:spMk id="31" creationId="{7E8A35D7-7BF5-4B85-BEAB-7194DA4EE32A}"/>
          </ac:spMkLst>
        </pc:spChg>
        <pc:spChg chg="add del mod">
          <ac:chgData name="荒居 孝紀" userId="d893e96b-a7aa-4739-8b4a-908515f37dba" providerId="ADAL" clId="{6FE9F128-9CE9-4FCB-9530-772C433C7B79}" dt="2020-10-21T01:33:19.691" v="1316" actId="478"/>
          <ac:spMkLst>
            <pc:docMk/>
            <pc:sldMk cId="1298470475" sldId="2353"/>
            <ac:spMk id="37" creationId="{9E0FBCD9-6CD7-4740-90E9-D7FFB16DEBF2}"/>
          </ac:spMkLst>
        </pc:spChg>
        <pc:spChg chg="add del mod">
          <ac:chgData name="荒居 孝紀" userId="d893e96b-a7aa-4739-8b4a-908515f37dba" providerId="ADAL" clId="{6FE9F128-9CE9-4FCB-9530-772C433C7B79}" dt="2020-10-21T01:33:19.691" v="1316" actId="478"/>
          <ac:spMkLst>
            <pc:docMk/>
            <pc:sldMk cId="1298470475" sldId="2353"/>
            <ac:spMk id="38" creationId="{1528AADD-266C-47FE-B26B-556EB9FE13AE}"/>
          </ac:spMkLst>
        </pc:spChg>
        <pc:spChg chg="add del mod">
          <ac:chgData name="荒居 孝紀" userId="d893e96b-a7aa-4739-8b4a-908515f37dba" providerId="ADAL" clId="{6FE9F128-9CE9-4FCB-9530-772C433C7B79}" dt="2020-10-21T01:33:19.691" v="1316" actId="478"/>
          <ac:spMkLst>
            <pc:docMk/>
            <pc:sldMk cId="1298470475" sldId="2353"/>
            <ac:spMk id="39" creationId="{DFD21660-0EF3-4888-BBAF-B5D8A262DF3A}"/>
          </ac:spMkLst>
        </pc:spChg>
        <pc:spChg chg="add del mod">
          <ac:chgData name="荒居 孝紀" userId="d893e96b-a7aa-4739-8b4a-908515f37dba" providerId="ADAL" clId="{6FE9F128-9CE9-4FCB-9530-772C433C7B79}" dt="2020-10-21T01:13:25.482" v="179"/>
          <ac:spMkLst>
            <pc:docMk/>
            <pc:sldMk cId="1298470475" sldId="2353"/>
            <ac:spMk id="43" creationId="{ADF4B771-0523-4D51-AA77-09CE519FC99A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44" creationId="{0AC6B5BA-4F06-4D39-98D1-D2CA2CDBF449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45" creationId="{4C179C20-BCBA-4898-9BE7-9D69886B8B86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46" creationId="{69E8F50D-2FAA-4915-A0FA-AE4067D0C73B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47" creationId="{1704DE8B-81E2-4EA1-AC6F-93EC8D4B4466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53" creationId="{2989843D-17D5-4B28-A21F-9F378F49B906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54" creationId="{E92F33B1-223F-4324-A7F7-0B0E6C20D45B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55" creationId="{5EEA6698-6505-43F8-AE64-E77A524C83D9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59" creationId="{7488177F-A5E5-4587-BFC9-9E66540338F6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60" creationId="{3FB43483-3E7D-4FE6-B75C-5DD89EBCBBA0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61" creationId="{DBB9671C-EA1D-41B4-9505-9628717BB04D}"/>
          </ac:spMkLst>
        </pc:spChg>
        <pc:spChg chg="add mod">
          <ac:chgData name="荒居 孝紀" userId="d893e96b-a7aa-4739-8b4a-908515f37dba" providerId="ADAL" clId="{6FE9F128-9CE9-4FCB-9530-772C433C7B79}" dt="2020-10-21T01:18:32.274" v="385" actId="1076"/>
          <ac:spMkLst>
            <pc:docMk/>
            <pc:sldMk cId="1298470475" sldId="2353"/>
            <ac:spMk id="62" creationId="{003C9424-4CC3-4222-9B1E-FE7C506C9A53}"/>
          </ac:spMkLst>
        </pc:spChg>
        <pc:graphicFrameChg chg="add del mod modGraphic">
          <ac:chgData name="荒居 孝紀" userId="d893e96b-a7aa-4739-8b4a-908515f37dba" providerId="ADAL" clId="{6FE9F128-9CE9-4FCB-9530-772C433C7B79}" dt="2020-10-21T01:29:57.493" v="1077" actId="478"/>
          <ac:graphicFrameMkLst>
            <pc:docMk/>
            <pc:sldMk cId="1298470475" sldId="2353"/>
            <ac:graphicFrameMk id="63" creationId="{67A5786A-E0E6-4239-AB7E-B572DD1DC1E1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1:37:55.330" v="1332" actId="115"/>
          <ac:graphicFrameMkLst>
            <pc:docMk/>
            <pc:sldMk cId="1298470475" sldId="2353"/>
            <ac:graphicFrameMk id="64" creationId="{89AFF3D9-B51B-4D55-A75B-CBAFD03AD411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1:37:50.852" v="1331" actId="115"/>
          <ac:graphicFrameMkLst>
            <pc:docMk/>
            <pc:sldMk cId="1298470475" sldId="2353"/>
            <ac:graphicFrameMk id="65" creationId="{B8602C1D-518A-4D20-A79E-AC25C7680059}"/>
          </ac:graphicFrameMkLst>
        </pc:graphicFrameChg>
        <pc:cxnChg chg="add del mod">
          <ac:chgData name="荒居 孝紀" userId="d893e96b-a7aa-4739-8b4a-908515f37dba" providerId="ADAL" clId="{6FE9F128-9CE9-4FCB-9530-772C433C7B79}" dt="2020-10-21T01:33:10.998" v="1310" actId="478"/>
          <ac:cxnSpMkLst>
            <pc:docMk/>
            <pc:sldMk cId="1298470475" sldId="2353"/>
            <ac:cxnSpMk id="11" creationId="{F203AD5E-22AA-452E-8BBD-D28F70B56340}"/>
          </ac:cxnSpMkLst>
        </pc:cxnChg>
        <pc:cxnChg chg="add del mod">
          <ac:chgData name="荒居 孝紀" userId="d893e96b-a7aa-4739-8b4a-908515f37dba" providerId="ADAL" clId="{6FE9F128-9CE9-4FCB-9530-772C433C7B79}" dt="2020-10-21T01:33:12.348" v="1311" actId="478"/>
          <ac:cxnSpMkLst>
            <pc:docMk/>
            <pc:sldMk cId="1298470475" sldId="2353"/>
            <ac:cxnSpMk id="13" creationId="{96C8A92E-5DF9-41E7-B9B9-FF95963A8B62}"/>
          </ac:cxnSpMkLst>
        </pc:cxnChg>
        <pc:cxnChg chg="add del mod">
          <ac:chgData name="荒居 孝紀" userId="d893e96b-a7aa-4739-8b4a-908515f37dba" providerId="ADAL" clId="{6FE9F128-9CE9-4FCB-9530-772C433C7B79}" dt="2020-10-21T01:33:17.995" v="1315" actId="478"/>
          <ac:cxnSpMkLst>
            <pc:docMk/>
            <pc:sldMk cId="1298470475" sldId="2353"/>
            <ac:cxnSpMk id="17" creationId="{F31F6BB5-6B33-44A9-A379-7AFCEE2E9E0B}"/>
          </ac:cxnSpMkLst>
        </pc:cxnChg>
        <pc:cxnChg chg="add del mod">
          <ac:chgData name="荒居 孝紀" userId="d893e96b-a7aa-4739-8b4a-908515f37dba" providerId="ADAL" clId="{6FE9F128-9CE9-4FCB-9530-772C433C7B79}" dt="2020-10-21T01:33:16.567" v="1314" actId="478"/>
          <ac:cxnSpMkLst>
            <pc:docMk/>
            <pc:sldMk cId="1298470475" sldId="2353"/>
            <ac:cxnSpMk id="18" creationId="{82FBB77A-7116-4B5A-B214-65FBEF666E82}"/>
          </ac:cxnSpMkLst>
        </pc:cxnChg>
        <pc:cxnChg chg="add del mod">
          <ac:chgData name="荒居 孝紀" userId="d893e96b-a7aa-4739-8b4a-908515f37dba" providerId="ADAL" clId="{6FE9F128-9CE9-4FCB-9530-772C433C7B79}" dt="2020-10-21T01:33:16.071" v="1313" actId="478"/>
          <ac:cxnSpMkLst>
            <pc:docMk/>
            <pc:sldMk cId="1298470475" sldId="2353"/>
            <ac:cxnSpMk id="21" creationId="{CC0C6BEB-A40A-4344-BAE0-1C951E4D41EA}"/>
          </ac:cxnSpMkLst>
        </pc:cxnChg>
        <pc:cxnChg chg="add del mod">
          <ac:chgData name="荒居 孝紀" userId="d893e96b-a7aa-4739-8b4a-908515f37dba" providerId="ADAL" clId="{6FE9F128-9CE9-4FCB-9530-772C433C7B79}" dt="2020-10-21T01:33:20.499" v="1317" actId="478"/>
          <ac:cxnSpMkLst>
            <pc:docMk/>
            <pc:sldMk cId="1298470475" sldId="2353"/>
            <ac:cxnSpMk id="34" creationId="{8FBCB96F-FDDD-44DB-917D-313041CCB359}"/>
          </ac:cxnSpMkLst>
        </pc:cxnChg>
        <pc:cxnChg chg="add del mod">
          <ac:chgData name="荒居 孝紀" userId="d893e96b-a7aa-4739-8b4a-908515f37dba" providerId="ADAL" clId="{6FE9F128-9CE9-4FCB-9530-772C433C7B79}" dt="2020-10-21T01:33:21.532" v="1318" actId="478"/>
          <ac:cxnSpMkLst>
            <pc:docMk/>
            <pc:sldMk cId="1298470475" sldId="2353"/>
            <ac:cxnSpMk id="35" creationId="{A8E95FA4-4611-4D22-B55E-86CF30E059E7}"/>
          </ac:cxnSpMkLst>
        </pc:cxnChg>
        <pc:cxnChg chg="add del mod">
          <ac:chgData name="荒居 孝紀" userId="d893e96b-a7aa-4739-8b4a-908515f37dba" providerId="ADAL" clId="{6FE9F128-9CE9-4FCB-9530-772C433C7B79}" dt="2020-10-21T01:33:23.123" v="1319" actId="478"/>
          <ac:cxnSpMkLst>
            <pc:docMk/>
            <pc:sldMk cId="1298470475" sldId="2353"/>
            <ac:cxnSpMk id="36" creationId="{7DC182F2-B284-42E5-8727-E8C47A589E56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48" creationId="{6A1F5208-BA00-483C-822C-FE45E41DF829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49" creationId="{F7446ADA-92DD-4C58-A879-4771B6836165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0" creationId="{12A977C2-7A06-48FA-85DE-1C22F8B481D9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1" creationId="{9D26F299-D1D9-4EF0-AEDD-2EAF8700B237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2" creationId="{414285B7-49D6-4BCF-83A7-AA603D311C43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6" creationId="{3ACBFB9F-094C-4E53-BBBD-B343D01C7C2E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7" creationId="{D3E6F0BE-D420-4E21-BE57-8D4CD90B3C37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8" creationId="{0EA78B92-1EE9-44B9-BB99-5D37A4899E25}"/>
          </ac:cxnSpMkLst>
        </pc:cxnChg>
      </pc:sldChg>
      <pc:sldChg chg="del">
        <pc:chgData name="荒居 孝紀" userId="d893e96b-a7aa-4739-8b4a-908515f37dba" providerId="ADAL" clId="{6FE9F128-9CE9-4FCB-9530-772C433C7B79}" dt="2020-10-21T02:50:11.178" v="2042" actId="2696"/>
        <pc:sldMkLst>
          <pc:docMk/>
          <pc:sldMk cId="1716075215" sldId="2354"/>
        </pc:sldMkLst>
      </pc:sldChg>
      <pc:sldChg chg="del">
        <pc:chgData name="荒居 孝紀" userId="d893e96b-a7aa-4739-8b4a-908515f37dba" providerId="ADAL" clId="{6FE9F128-9CE9-4FCB-9530-772C433C7B79}" dt="2020-10-21T02:50:53.791" v="2043" actId="2696"/>
        <pc:sldMkLst>
          <pc:docMk/>
          <pc:sldMk cId="2193603369" sldId="2355"/>
        </pc:sldMkLst>
      </pc:sldChg>
      <pc:sldChg chg="add del">
        <pc:chgData name="荒居 孝紀" userId="d893e96b-a7aa-4739-8b4a-908515f37dba" providerId="ADAL" clId="{6FE9F128-9CE9-4FCB-9530-772C433C7B79}" dt="2020-10-21T02:50:09.200" v="2041" actId="2696"/>
        <pc:sldMkLst>
          <pc:docMk/>
          <pc:sldMk cId="2852589186" sldId="2356"/>
        </pc:sldMkLst>
      </pc:sldChg>
      <pc:sldChg chg="addSp delSp modSp add">
        <pc:chgData name="荒居 孝紀" userId="d893e96b-a7aa-4739-8b4a-908515f37dba" providerId="ADAL" clId="{6FE9F128-9CE9-4FCB-9530-772C433C7B79}" dt="2020-10-21T02:43:38.058" v="1805" actId="20577"/>
        <pc:sldMkLst>
          <pc:docMk/>
          <pc:sldMk cId="1211512306" sldId="2357"/>
        </pc:sldMkLst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6" creationId="{1C2F6C1C-FAC9-4338-8CD7-F374F94A9BA0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7" creationId="{DD0E97B3-CEEE-40F2-8868-FFE8C0E34FC1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8" creationId="{D9B13375-9709-4767-8219-86C366895109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9" creationId="{B3D60590-471A-4D83-B8CD-C8B033E2058F}"/>
          </ac:spMkLst>
        </pc:spChg>
        <pc:spChg chg="add">
          <ac:chgData name="荒居 孝紀" userId="d893e96b-a7aa-4739-8b4a-908515f37dba" providerId="ADAL" clId="{6FE9F128-9CE9-4FCB-9530-772C433C7B79}" dt="2020-10-21T01:31:16.143" v="1245"/>
          <ac:spMkLst>
            <pc:docMk/>
            <pc:sldMk cId="1211512306" sldId="2357"/>
            <ac:spMk id="24" creationId="{D25CFFD5-79BE-488F-A0AD-113E74A3D350}"/>
          </ac:spMkLst>
        </pc:spChg>
        <pc:spChg chg="add">
          <ac:chgData name="荒居 孝紀" userId="d893e96b-a7aa-4739-8b4a-908515f37dba" providerId="ADAL" clId="{6FE9F128-9CE9-4FCB-9530-772C433C7B79}" dt="2020-10-21T01:31:16.143" v="1245"/>
          <ac:spMkLst>
            <pc:docMk/>
            <pc:sldMk cId="1211512306" sldId="2357"/>
            <ac:spMk id="25" creationId="{1D6DF0BE-B2AB-464A-90B2-7D22B127416C}"/>
          </ac:spMkLst>
        </pc:spChg>
        <pc:spChg chg="add">
          <ac:chgData name="荒居 孝紀" userId="d893e96b-a7aa-4739-8b4a-908515f37dba" providerId="ADAL" clId="{6FE9F128-9CE9-4FCB-9530-772C433C7B79}" dt="2020-10-21T01:31:16.143" v="1245"/>
          <ac:spMkLst>
            <pc:docMk/>
            <pc:sldMk cId="1211512306" sldId="2357"/>
            <ac:spMk id="26" creationId="{EDF19ECC-457C-481B-90D5-A54B9FCFD969}"/>
          </ac:spMkLst>
        </pc:spChg>
        <pc:spChg chg="add">
          <ac:chgData name="荒居 孝紀" userId="d893e96b-a7aa-4739-8b4a-908515f37dba" providerId="ADAL" clId="{6FE9F128-9CE9-4FCB-9530-772C433C7B79}" dt="2020-10-21T01:31:16.143" v="1245"/>
          <ac:spMkLst>
            <pc:docMk/>
            <pc:sldMk cId="1211512306" sldId="2357"/>
            <ac:spMk id="27" creationId="{892669A5-1614-471D-B6BA-6380F4F11870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29" creationId="{0808770E-072B-4AF2-8A4C-D046AB312B62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0" creationId="{718C8AD6-EACA-47DC-BE3F-ADB31D9BAD00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1" creationId="{7E8A35D7-7BF5-4B85-BEAB-7194DA4EE32A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7" creationId="{9E0FBCD9-6CD7-4740-90E9-D7FFB16DEBF2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8" creationId="{1528AADD-266C-47FE-B26B-556EB9FE13AE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9" creationId="{DFD21660-0EF3-4888-BBAF-B5D8A262DF3A}"/>
          </ac:spMkLst>
        </pc:spChg>
        <pc:spChg chg="add del">
          <ac:chgData name="荒居 孝紀" userId="d893e96b-a7aa-4739-8b4a-908515f37dba" providerId="ADAL" clId="{6FE9F128-9CE9-4FCB-9530-772C433C7B79}" dt="2020-10-21T01:37:34.767" v="1326" actId="478"/>
          <ac:spMkLst>
            <pc:docMk/>
            <pc:sldMk cId="1211512306" sldId="2357"/>
            <ac:spMk id="42" creationId="{2F36CB29-5A75-4F80-ADD6-DAFA8D1130FD}"/>
          </ac:spMkLst>
        </pc:spChg>
        <pc:spChg chg="add del">
          <ac:chgData name="荒居 孝紀" userId="d893e96b-a7aa-4739-8b4a-908515f37dba" providerId="ADAL" clId="{6FE9F128-9CE9-4FCB-9530-772C433C7B79}" dt="2020-10-21T01:37:34.767" v="1326" actId="478"/>
          <ac:spMkLst>
            <pc:docMk/>
            <pc:sldMk cId="1211512306" sldId="2357"/>
            <ac:spMk id="43" creationId="{946C8810-D9D5-490F-B4A7-D865B4E7F12C}"/>
          </ac:spMkLst>
        </pc:spChg>
        <pc:spChg chg="add del">
          <ac:chgData name="荒居 孝紀" userId="d893e96b-a7aa-4739-8b4a-908515f37dba" providerId="ADAL" clId="{6FE9F128-9CE9-4FCB-9530-772C433C7B79}" dt="2020-10-21T01:37:34.767" v="1326" actId="478"/>
          <ac:spMkLst>
            <pc:docMk/>
            <pc:sldMk cId="1211512306" sldId="2357"/>
            <ac:spMk id="44" creationId="{11C4DC28-30E5-4671-B179-F2CC61208E9C}"/>
          </ac:spMkLst>
        </pc:spChg>
        <pc:spChg chg="add del">
          <ac:chgData name="荒居 孝紀" userId="d893e96b-a7aa-4739-8b4a-908515f37dba" providerId="ADAL" clId="{6FE9F128-9CE9-4FCB-9530-772C433C7B79}" dt="2020-10-21T01:37:39.875" v="1330" actId="478"/>
          <ac:spMkLst>
            <pc:docMk/>
            <pc:sldMk cId="1211512306" sldId="2357"/>
            <ac:spMk id="48" creationId="{A3776A76-1608-4F10-829F-7A6E807822DB}"/>
          </ac:spMkLst>
        </pc:spChg>
        <pc:spChg chg="add del">
          <ac:chgData name="荒居 孝紀" userId="d893e96b-a7aa-4739-8b4a-908515f37dba" providerId="ADAL" clId="{6FE9F128-9CE9-4FCB-9530-772C433C7B79}" dt="2020-10-21T01:37:39.875" v="1330" actId="478"/>
          <ac:spMkLst>
            <pc:docMk/>
            <pc:sldMk cId="1211512306" sldId="2357"/>
            <ac:spMk id="49" creationId="{C17D37E4-8033-4FB3-8440-C9C2D026A0AE}"/>
          </ac:spMkLst>
        </pc:spChg>
        <pc:spChg chg="add del">
          <ac:chgData name="荒居 孝紀" userId="d893e96b-a7aa-4739-8b4a-908515f37dba" providerId="ADAL" clId="{6FE9F128-9CE9-4FCB-9530-772C433C7B79}" dt="2020-10-21T01:37:39.875" v="1330" actId="478"/>
          <ac:spMkLst>
            <pc:docMk/>
            <pc:sldMk cId="1211512306" sldId="2357"/>
            <ac:spMk id="50" creationId="{8BFDC7B4-795B-4821-AC60-A930B6BCF38C}"/>
          </ac:spMkLst>
        </pc:spChg>
        <pc:spChg chg="mod">
          <ac:chgData name="荒居 孝紀" userId="d893e96b-a7aa-4739-8b4a-908515f37dba" providerId="ADAL" clId="{6FE9F128-9CE9-4FCB-9530-772C433C7B79}" dt="2020-10-21T01:19:21.899" v="430" actId="20577"/>
          <ac:spMkLst>
            <pc:docMk/>
            <pc:sldMk cId="1211512306" sldId="2357"/>
            <ac:spMk id="62" creationId="{003C9424-4CC3-4222-9B1E-FE7C506C9A53}"/>
          </ac:spMkLst>
        </pc:spChg>
        <pc:graphicFrameChg chg="add modGraphic">
          <ac:chgData name="荒居 孝紀" userId="d893e96b-a7aa-4739-8b4a-908515f37dba" providerId="ADAL" clId="{6FE9F128-9CE9-4FCB-9530-772C433C7B79}" dt="2020-10-21T01:32:37.762" v="1308" actId="115"/>
          <ac:graphicFrameMkLst>
            <pc:docMk/>
            <pc:sldMk cId="1211512306" sldId="2357"/>
            <ac:graphicFrameMk id="51" creationId="{47CE1AB4-681C-491A-BDF2-4DDA7DA90DEC}"/>
          </ac:graphicFrameMkLst>
        </pc:graphicFrameChg>
        <pc:graphicFrameChg chg="add modGraphic">
          <ac:chgData name="荒居 孝紀" userId="d893e96b-a7aa-4739-8b4a-908515f37dba" providerId="ADAL" clId="{6FE9F128-9CE9-4FCB-9530-772C433C7B79}" dt="2020-10-21T01:32:33.233" v="1307" actId="115"/>
          <ac:graphicFrameMkLst>
            <pc:docMk/>
            <pc:sldMk cId="1211512306" sldId="2357"/>
            <ac:graphicFrameMk id="52" creationId="{2B0709FE-1D7C-489B-92BA-982CF7451034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2:43:38.058" v="1805" actId="20577"/>
          <ac:graphicFrameMkLst>
            <pc:docMk/>
            <pc:sldMk cId="1211512306" sldId="2357"/>
            <ac:graphicFrameMk id="53" creationId="{7A783A81-2774-46C5-9D39-DD1A597F37BE}"/>
          </ac:graphicFrameMkLst>
        </pc:graphicFrameChg>
        <pc:cxnChg chg="del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11" creationId="{F203AD5E-22AA-452E-8BBD-D28F70B56340}"/>
          </ac:cxnSpMkLst>
        </pc:cxnChg>
        <pc:cxnChg chg="del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13" creationId="{96C8A92E-5DF9-41E7-B9B9-FF95963A8B62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17" creationId="{F31F6BB5-6B33-44A9-A379-7AFCEE2E9E0B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18" creationId="{82FBB77A-7116-4B5A-B214-65FBEF666E82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21" creationId="{CC0C6BEB-A40A-4344-BAE0-1C951E4D41EA}"/>
          </ac:cxnSpMkLst>
        </pc:cxnChg>
        <pc:cxnChg chg="add">
          <ac:chgData name="荒居 孝紀" userId="d893e96b-a7aa-4739-8b4a-908515f37dba" providerId="ADAL" clId="{6FE9F128-9CE9-4FCB-9530-772C433C7B79}" dt="2020-10-21T01:31:16.143" v="1245"/>
          <ac:cxnSpMkLst>
            <pc:docMk/>
            <pc:sldMk cId="1211512306" sldId="2357"/>
            <ac:cxnSpMk id="28" creationId="{1AC00F8E-ADBD-4317-89AC-9DE109DBCA12}"/>
          </ac:cxnSpMkLst>
        </pc:cxnChg>
        <pc:cxnChg chg="add">
          <ac:chgData name="荒居 孝紀" userId="d893e96b-a7aa-4739-8b4a-908515f37dba" providerId="ADAL" clId="{6FE9F128-9CE9-4FCB-9530-772C433C7B79}" dt="2020-10-21T01:31:16.143" v="1245"/>
          <ac:cxnSpMkLst>
            <pc:docMk/>
            <pc:sldMk cId="1211512306" sldId="2357"/>
            <ac:cxnSpMk id="32" creationId="{213C3439-833B-4E03-819D-6A1F8A831CA9}"/>
          </ac:cxnSpMkLst>
        </pc:cxnChg>
        <pc:cxnChg chg="add del mod">
          <ac:chgData name="荒居 孝紀" userId="d893e96b-a7aa-4739-8b4a-908515f37dba" providerId="ADAL" clId="{6FE9F128-9CE9-4FCB-9530-772C433C7B79}" dt="2020-10-21T01:37:36.123" v="1327" actId="478"/>
          <ac:cxnSpMkLst>
            <pc:docMk/>
            <pc:sldMk cId="1211512306" sldId="2357"/>
            <ac:cxnSpMk id="33" creationId="{BBDC746C-3A73-428B-9C00-A043B2EA2B83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34" creationId="{8FBCB96F-FDDD-44DB-917D-313041CCB359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35" creationId="{A8E95FA4-4611-4D22-B55E-86CF30E059E7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36" creationId="{7DC182F2-B284-42E5-8727-E8C47A589E56}"/>
          </ac:cxnSpMkLst>
        </pc:cxnChg>
        <pc:cxnChg chg="add del mod">
          <ac:chgData name="荒居 孝紀" userId="d893e96b-a7aa-4739-8b4a-908515f37dba" providerId="ADAL" clId="{6FE9F128-9CE9-4FCB-9530-772C433C7B79}" dt="2020-10-21T01:37:36.987" v="1328" actId="478"/>
          <ac:cxnSpMkLst>
            <pc:docMk/>
            <pc:sldMk cId="1211512306" sldId="2357"/>
            <ac:cxnSpMk id="40" creationId="{EA02FEF7-EFCC-4220-8B7D-93260BE80398}"/>
          </ac:cxnSpMkLst>
        </pc:cxnChg>
        <pc:cxnChg chg="add del mod">
          <ac:chgData name="荒居 孝紀" userId="d893e96b-a7aa-4739-8b4a-908515f37dba" providerId="ADAL" clId="{6FE9F128-9CE9-4FCB-9530-772C433C7B79}" dt="2020-10-21T01:37:37.758" v="1329" actId="478"/>
          <ac:cxnSpMkLst>
            <pc:docMk/>
            <pc:sldMk cId="1211512306" sldId="2357"/>
            <ac:cxnSpMk id="41" creationId="{57740EDB-52BF-4034-A898-20125C841C2B}"/>
          </ac:cxnSpMkLst>
        </pc:cxnChg>
        <pc:cxnChg chg="add del mod">
          <ac:chgData name="荒居 孝紀" userId="d893e96b-a7aa-4739-8b4a-908515f37dba" providerId="ADAL" clId="{6FE9F128-9CE9-4FCB-9530-772C433C7B79}" dt="2020-10-21T01:37:39.875" v="1330" actId="478"/>
          <ac:cxnSpMkLst>
            <pc:docMk/>
            <pc:sldMk cId="1211512306" sldId="2357"/>
            <ac:cxnSpMk id="45" creationId="{5F496FC0-0EC3-49BE-8A3C-8DBDA39ADBBE}"/>
          </ac:cxnSpMkLst>
        </pc:cxnChg>
        <pc:cxnChg chg="add del mod">
          <ac:chgData name="荒居 孝紀" userId="d893e96b-a7aa-4739-8b4a-908515f37dba" providerId="ADAL" clId="{6FE9F128-9CE9-4FCB-9530-772C433C7B79}" dt="2020-10-21T01:37:39.875" v="1330" actId="478"/>
          <ac:cxnSpMkLst>
            <pc:docMk/>
            <pc:sldMk cId="1211512306" sldId="2357"/>
            <ac:cxnSpMk id="46" creationId="{EC66B8F0-7E09-47BA-B82E-BA40FC0A8DC1}"/>
          </ac:cxnSpMkLst>
        </pc:cxnChg>
        <pc:cxnChg chg="add del mod">
          <ac:chgData name="荒居 孝紀" userId="d893e96b-a7aa-4739-8b4a-908515f37dba" providerId="ADAL" clId="{6FE9F128-9CE9-4FCB-9530-772C433C7B79}" dt="2020-10-21T01:37:39.875" v="1330" actId="478"/>
          <ac:cxnSpMkLst>
            <pc:docMk/>
            <pc:sldMk cId="1211512306" sldId="2357"/>
            <ac:cxnSpMk id="47" creationId="{C9745A78-8AA0-43AC-A8EE-663DFAD68DC7}"/>
          </ac:cxnSpMkLst>
        </pc:cxnChg>
      </pc:sldChg>
      <pc:sldChg chg="addSp delSp modSp add">
        <pc:chgData name="荒居 孝紀" userId="d893e96b-a7aa-4739-8b4a-908515f37dba" providerId="ADAL" clId="{6FE9F128-9CE9-4FCB-9530-772C433C7B79}" dt="2020-10-21T02:49:41.242" v="2040" actId="20577"/>
        <pc:sldMkLst>
          <pc:docMk/>
          <pc:sldMk cId="2716289554" sldId="2358"/>
        </pc:sldMkLst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6" creationId="{1C2F6C1C-FAC9-4338-8CD7-F374F94A9BA0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7" creationId="{DD0E97B3-CEEE-40F2-8868-FFE8C0E34FC1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8" creationId="{D9B13375-9709-4767-8219-86C366895109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9" creationId="{B3D60590-471A-4D83-B8CD-C8B033E2058F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25" creationId="{8F6C78DE-2686-4614-8E4B-BAF18DE908CF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26" creationId="{452381DA-C749-4906-A072-5D5C22B33A68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27" creationId="{A8E84A10-9178-4247-8DF1-7767FA74B85E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28" creationId="{897B021C-7E11-42AF-A6D9-1AE6DC5228FF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29" creationId="{0808770E-072B-4AF2-8A4C-D046AB312B62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0" creationId="{718C8AD6-EACA-47DC-BE3F-ADB31D9BAD00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1" creationId="{7E8A35D7-7BF5-4B85-BEAB-7194DA4EE32A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7" creationId="{9E0FBCD9-6CD7-4740-90E9-D7FFB16DEBF2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8" creationId="{1528AADD-266C-47FE-B26B-556EB9FE13AE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9" creationId="{DFD21660-0EF3-4888-BBAF-B5D8A262DF3A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43" creationId="{FC7B35A3-B288-4044-B1D9-F494689F288D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44" creationId="{F12CDBD6-FE1F-4A68-8402-453FE54C642F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45" creationId="{D62B947D-8FEE-49E5-9515-47803A303E76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49" creationId="{FD187A01-5DC9-4F2E-9508-4A12187895B2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50" creationId="{0984032B-3915-4F24-AE81-61D14B9043F8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51" creationId="{9F3A34D9-5842-44C7-9A23-49E4F5025669}"/>
          </ac:spMkLst>
        </pc:spChg>
        <pc:spChg chg="add mod">
          <ac:chgData name="荒居 孝紀" userId="d893e96b-a7aa-4739-8b4a-908515f37dba" providerId="ADAL" clId="{6FE9F128-9CE9-4FCB-9530-772C433C7B79}" dt="2020-10-21T01:59:47.206" v="1695" actId="1076"/>
          <ac:spMkLst>
            <pc:docMk/>
            <pc:sldMk cId="2716289554" sldId="2358"/>
            <ac:spMk id="56" creationId="{2F802F62-CC53-4C15-AFCF-0A0BE41F1AF0}"/>
          </ac:spMkLst>
        </pc:spChg>
        <pc:spChg chg="add mod">
          <ac:chgData name="荒居 孝紀" userId="d893e96b-a7aa-4739-8b4a-908515f37dba" providerId="ADAL" clId="{6FE9F128-9CE9-4FCB-9530-772C433C7B79}" dt="2020-10-21T01:59:47.206" v="1695" actId="1076"/>
          <ac:spMkLst>
            <pc:docMk/>
            <pc:sldMk cId="2716289554" sldId="2358"/>
            <ac:spMk id="57" creationId="{531E73D4-9DE5-4EEC-B24B-EF0F2B65CA18}"/>
          </ac:spMkLst>
        </pc:spChg>
        <pc:spChg chg="add mod">
          <ac:chgData name="荒居 孝紀" userId="d893e96b-a7aa-4739-8b4a-908515f37dba" providerId="ADAL" clId="{6FE9F128-9CE9-4FCB-9530-772C433C7B79}" dt="2020-10-21T01:59:47.206" v="1695" actId="1076"/>
          <ac:spMkLst>
            <pc:docMk/>
            <pc:sldMk cId="2716289554" sldId="2358"/>
            <ac:spMk id="58" creationId="{ABEAA15D-E49A-469B-9C3F-9A780A6D2E7F}"/>
          </ac:spMkLst>
        </pc:spChg>
        <pc:spChg chg="add del">
          <ac:chgData name="荒居 孝紀" userId="d893e96b-a7aa-4739-8b4a-908515f37dba" providerId="ADAL" clId="{6FE9F128-9CE9-4FCB-9530-772C433C7B79}" dt="2020-10-21T02:41:47.852" v="1703" actId="478"/>
          <ac:spMkLst>
            <pc:docMk/>
            <pc:sldMk cId="2716289554" sldId="2358"/>
            <ac:spMk id="61" creationId="{5F68EE1A-6A3E-4F23-A264-CE3DDFD121F7}"/>
          </ac:spMkLst>
        </pc:spChg>
        <pc:spChg chg="mod">
          <ac:chgData name="荒居 孝紀" userId="d893e96b-a7aa-4739-8b4a-908515f37dba" providerId="ADAL" clId="{6FE9F128-9CE9-4FCB-9530-772C433C7B79}" dt="2020-10-21T01:41:35.839" v="1580" actId="6549"/>
          <ac:spMkLst>
            <pc:docMk/>
            <pc:sldMk cId="2716289554" sldId="2358"/>
            <ac:spMk id="62" creationId="{003C9424-4CC3-4222-9B1E-FE7C506C9A53}"/>
          </ac:spMkLst>
        </pc:spChg>
        <pc:graphicFrameChg chg="add mod ord modGraphic">
          <ac:chgData name="荒居 孝紀" userId="d893e96b-a7aa-4739-8b4a-908515f37dba" providerId="ADAL" clId="{6FE9F128-9CE9-4FCB-9530-772C433C7B79}" dt="2020-10-21T02:45:31.847" v="1884" actId="20577"/>
          <ac:graphicFrameMkLst>
            <pc:docMk/>
            <pc:sldMk cId="2716289554" sldId="2358"/>
            <ac:graphicFrameMk id="24" creationId="{6F21336C-DA6E-4884-8EFE-3B2C1FD94046}"/>
          </ac:graphicFrameMkLst>
        </pc:graphicFrameChg>
        <pc:graphicFrameChg chg="add">
          <ac:chgData name="荒居 孝紀" userId="d893e96b-a7aa-4739-8b4a-908515f37dba" providerId="ADAL" clId="{6FE9F128-9CE9-4FCB-9530-772C433C7B79}" dt="2020-10-21T01:34:47.868" v="1325"/>
          <ac:graphicFrameMkLst>
            <pc:docMk/>
            <pc:sldMk cId="2716289554" sldId="2358"/>
            <ac:graphicFrameMk id="52" creationId="{20538431-64BE-4FEC-8562-F5432F128017}"/>
          </ac:graphicFrameMkLst>
        </pc:graphicFrameChg>
        <pc:graphicFrameChg chg="add">
          <ac:chgData name="荒居 孝紀" userId="d893e96b-a7aa-4739-8b4a-908515f37dba" providerId="ADAL" clId="{6FE9F128-9CE9-4FCB-9530-772C433C7B79}" dt="2020-10-21T01:34:47.868" v="1325"/>
          <ac:graphicFrameMkLst>
            <pc:docMk/>
            <pc:sldMk cId="2716289554" sldId="2358"/>
            <ac:graphicFrameMk id="53" creationId="{E5CA7215-3EE0-4560-B144-61FDD5F2B741}"/>
          </ac:graphicFrameMkLst>
        </pc:graphicFrameChg>
        <pc:graphicFrameChg chg="add modGraphic">
          <ac:chgData name="荒居 孝紀" userId="d893e96b-a7aa-4739-8b4a-908515f37dba" providerId="ADAL" clId="{6FE9F128-9CE9-4FCB-9530-772C433C7B79}" dt="2020-10-21T02:44:36.804" v="1857" actId="20577"/>
          <ac:graphicFrameMkLst>
            <pc:docMk/>
            <pc:sldMk cId="2716289554" sldId="2358"/>
            <ac:graphicFrameMk id="54" creationId="{7D18FD56-27C9-40E2-A4FB-656876B62929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2:49:41.242" v="2040" actId="20577"/>
          <ac:graphicFrameMkLst>
            <pc:docMk/>
            <pc:sldMk cId="2716289554" sldId="2358"/>
            <ac:graphicFrameMk id="55" creationId="{172177D5-7D4E-424C-AC5A-15E6A1B1CF36}"/>
          </ac:graphicFrameMkLst>
        </pc:graphicFrameChg>
        <pc:cxnChg chg="del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11" creationId="{F203AD5E-22AA-452E-8BBD-D28F70B56340}"/>
          </ac:cxnSpMkLst>
        </pc:cxnChg>
        <pc:cxnChg chg="del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13" creationId="{96C8A92E-5DF9-41E7-B9B9-FF95963A8B62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17" creationId="{F31F6BB5-6B33-44A9-A379-7AFCEE2E9E0B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18" creationId="{82FBB77A-7116-4B5A-B214-65FBEF666E82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21" creationId="{CC0C6BEB-A40A-4344-BAE0-1C951E4D41EA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32" creationId="{6006730C-3200-40DF-A833-0803A1CEA4D4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33" creationId="{E06A3E2C-9D40-45EB-A89F-02FB24AED7E9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34" creationId="{8FBCB96F-FDDD-44DB-917D-313041CCB359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35" creationId="{A8E95FA4-4611-4D22-B55E-86CF30E059E7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36" creationId="{7DC182F2-B284-42E5-8727-E8C47A589E56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0" creationId="{12BB3A38-FF79-4356-B3DD-4F55EF3F2FF9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1" creationId="{5BB0CFD5-A1BC-494F-B44F-8F5285BB1B3C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2" creationId="{A59D005F-AB3D-42C8-BF79-768350B4FA63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6" creationId="{BA02ABBE-8DEF-4126-93F1-FA8306120287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7" creationId="{FE44CB2E-AF99-40B0-B440-CF3259791AE5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8" creationId="{416649A7-7A6B-445C-9487-CD1CC4FDECCA}"/>
          </ac:cxnSpMkLst>
        </pc:cxnChg>
        <pc:cxnChg chg="add mod">
          <ac:chgData name="荒居 孝紀" userId="d893e96b-a7aa-4739-8b4a-908515f37dba" providerId="ADAL" clId="{6FE9F128-9CE9-4FCB-9530-772C433C7B79}" dt="2020-10-21T01:59:47.206" v="1695" actId="1076"/>
          <ac:cxnSpMkLst>
            <pc:docMk/>
            <pc:sldMk cId="2716289554" sldId="2358"/>
            <ac:cxnSpMk id="59" creationId="{56952BB4-8FCC-42CE-9F9D-2D9357A615A9}"/>
          </ac:cxnSpMkLst>
        </pc:cxnChg>
        <pc:cxnChg chg="add mod">
          <ac:chgData name="荒居 孝紀" userId="d893e96b-a7aa-4739-8b4a-908515f37dba" providerId="ADAL" clId="{6FE9F128-9CE9-4FCB-9530-772C433C7B79}" dt="2020-10-21T01:59:47.206" v="1695" actId="1076"/>
          <ac:cxnSpMkLst>
            <pc:docMk/>
            <pc:sldMk cId="2716289554" sldId="2358"/>
            <ac:cxnSpMk id="60" creationId="{1A279356-84F9-4DB2-8216-B75E4583602E}"/>
          </ac:cxnSpMkLst>
        </pc:cxnChg>
      </pc:sldChg>
      <pc:sldChg chg="addSp delSp modSp add ord">
        <pc:chgData name="荒居 孝紀" userId="d893e96b-a7aa-4739-8b4a-908515f37dba" providerId="ADAL" clId="{6FE9F128-9CE9-4FCB-9530-772C433C7B79}" dt="2020-10-21T02:44:08.664" v="1833" actId="20577"/>
        <pc:sldMkLst>
          <pc:docMk/>
          <pc:sldMk cId="2711885548" sldId="2359"/>
        </pc:sldMkLst>
        <pc:spChg chg="add mod">
          <ac:chgData name="荒居 孝紀" userId="d893e96b-a7aa-4739-8b4a-908515f37dba" providerId="ADAL" clId="{6FE9F128-9CE9-4FCB-9530-772C433C7B79}" dt="2020-10-21T01:27:13.232" v="965" actId="1076"/>
          <ac:spMkLst>
            <pc:docMk/>
            <pc:sldMk cId="2711885548" sldId="2359"/>
            <ac:spMk id="5" creationId="{E39E0808-9CA0-42ED-9B55-FBFCCC76E7F3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6" creationId="{1C2F6C1C-FAC9-4338-8CD7-F374F94A9BA0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7" creationId="{DD0E97B3-CEEE-40F2-8868-FFE8C0E34FC1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8" creationId="{D9B13375-9709-4767-8219-86C366895109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9" creationId="{B3D60590-471A-4D83-B8CD-C8B033E2058F}"/>
          </ac:spMkLst>
        </pc:spChg>
        <pc:spChg chg="add del mod">
          <ac:chgData name="荒居 孝紀" userId="d893e96b-a7aa-4739-8b4a-908515f37dba" providerId="ADAL" clId="{6FE9F128-9CE9-4FCB-9530-772C433C7B79}" dt="2020-10-21T01:55:47.663" v="1661" actId="478"/>
          <ac:spMkLst>
            <pc:docMk/>
            <pc:sldMk cId="2711885548" sldId="2359"/>
            <ac:spMk id="14" creationId="{5DE81B95-F29E-48BA-A4B6-18EC7FCACC12}"/>
          </ac:spMkLst>
        </pc:spChg>
        <pc:spChg chg="add del mod">
          <ac:chgData name="荒居 孝紀" userId="d893e96b-a7aa-4739-8b4a-908515f37dba" providerId="ADAL" clId="{6FE9F128-9CE9-4FCB-9530-772C433C7B79}" dt="2020-10-21T02:00:24.703" v="1698" actId="478"/>
          <ac:spMkLst>
            <pc:docMk/>
            <pc:sldMk cId="2711885548" sldId="2359"/>
            <ac:spMk id="15" creationId="{85960857-3581-48DD-8784-D031CFE02EB2}"/>
          </ac:spMkLst>
        </pc:spChg>
        <pc:spChg chg="add del mod ord">
          <ac:chgData name="荒居 孝紀" userId="d893e96b-a7aa-4739-8b4a-908515f37dba" providerId="ADAL" clId="{6FE9F128-9CE9-4FCB-9530-772C433C7B79}" dt="2020-10-21T02:00:24.703" v="1698" actId="478"/>
          <ac:spMkLst>
            <pc:docMk/>
            <pc:sldMk cId="2711885548" sldId="2359"/>
            <ac:spMk id="22" creationId="{6DD89B24-4E3D-4C01-BED0-F19AEDC3D220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27" creationId="{9660C224-F214-4B09-987F-1482D6D59F8D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28" creationId="{138ABB54-D7B4-421D-A206-EBCDB32103EE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29" creationId="{0808770E-072B-4AF2-8A4C-D046AB312B62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0" creationId="{718C8AD6-EACA-47DC-BE3F-ADB31D9BAD00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1" creationId="{7E8A35D7-7BF5-4B85-BEAB-7194DA4EE32A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32" creationId="{B5233EDA-2FF6-4E97-9870-B8B7EA6ED96D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33" creationId="{C7C0F262-00A5-48EE-B22D-3DA1FE1F1F6E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7" creationId="{9E0FBCD9-6CD7-4740-90E9-D7FFB16DEBF2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8" creationId="{1528AADD-266C-47FE-B26B-556EB9FE13AE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9" creationId="{DFD21660-0EF3-4888-BBAF-B5D8A262DF3A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45" creationId="{33E8FAFE-EA71-4CB0-A84E-2C8403FA4F71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46" creationId="{06ECC24B-8E9C-4764-ABCF-53C5598BAB4E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47" creationId="{5DBF0766-F006-43AC-9990-08601A5B3E45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51" creationId="{DB8B2212-ED6F-44BB-981D-88BE44DC2909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52" creationId="{016645D2-8F2A-4FB6-A6AB-A8F09A036438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53" creationId="{73A458C0-CF5E-4C43-B491-9E69B1E24B8B}"/>
          </ac:spMkLst>
        </pc:spChg>
        <pc:spChg chg="add">
          <ac:chgData name="荒居 孝紀" userId="d893e96b-a7aa-4739-8b4a-908515f37dba" providerId="ADAL" clId="{6FE9F128-9CE9-4FCB-9530-772C433C7B79}" dt="2020-10-21T01:33:54.330" v="1321"/>
          <ac:spMkLst>
            <pc:docMk/>
            <pc:sldMk cId="2711885548" sldId="2359"/>
            <ac:spMk id="56" creationId="{3D5AC9CC-97A5-4684-9740-BD0E2B42D1D5}"/>
          </ac:spMkLst>
        </pc:spChg>
        <pc:spChg chg="add">
          <ac:chgData name="荒居 孝紀" userId="d893e96b-a7aa-4739-8b4a-908515f37dba" providerId="ADAL" clId="{6FE9F128-9CE9-4FCB-9530-772C433C7B79}" dt="2020-10-21T01:33:54.330" v="1321"/>
          <ac:spMkLst>
            <pc:docMk/>
            <pc:sldMk cId="2711885548" sldId="2359"/>
            <ac:spMk id="57" creationId="{8152D6DA-5CAD-47E4-A491-2542D67EF311}"/>
          </ac:spMkLst>
        </pc:spChg>
        <pc:spChg chg="add">
          <ac:chgData name="荒居 孝紀" userId="d893e96b-a7aa-4739-8b4a-908515f37dba" providerId="ADAL" clId="{6FE9F128-9CE9-4FCB-9530-772C433C7B79}" dt="2020-10-21T01:33:54.330" v="1321"/>
          <ac:spMkLst>
            <pc:docMk/>
            <pc:sldMk cId="2711885548" sldId="2359"/>
            <ac:spMk id="58" creationId="{2A82CA93-7AD3-42CD-BC27-A89EC7BA8206}"/>
          </ac:spMkLst>
        </pc:spChg>
        <pc:spChg chg="add">
          <ac:chgData name="荒居 孝紀" userId="d893e96b-a7aa-4739-8b4a-908515f37dba" providerId="ADAL" clId="{6FE9F128-9CE9-4FCB-9530-772C433C7B79}" dt="2020-10-21T01:33:54.330" v="1321"/>
          <ac:spMkLst>
            <pc:docMk/>
            <pc:sldMk cId="2711885548" sldId="2359"/>
            <ac:spMk id="59" creationId="{19BDB1D7-99A1-484C-B6E5-4F4F7737292B}"/>
          </ac:spMkLst>
        </pc:spChg>
        <pc:spChg chg="mod">
          <ac:chgData name="荒居 孝紀" userId="d893e96b-a7aa-4739-8b4a-908515f37dba" providerId="ADAL" clId="{6FE9F128-9CE9-4FCB-9530-772C433C7B79}" dt="2020-10-21T01:27:08.685" v="964" actId="6549"/>
          <ac:spMkLst>
            <pc:docMk/>
            <pc:sldMk cId="2711885548" sldId="2359"/>
            <ac:spMk id="62" creationId="{003C9424-4CC3-4222-9B1E-FE7C506C9A53}"/>
          </ac:spMkLst>
        </pc:spChg>
        <pc:spChg chg="add del">
          <ac:chgData name="荒居 孝紀" userId="d893e96b-a7aa-4739-8b4a-908515f37dba" providerId="ADAL" clId="{6FE9F128-9CE9-4FCB-9530-772C433C7B79}" dt="2020-10-21T01:38:05.946" v="1333" actId="478"/>
          <ac:spMkLst>
            <pc:docMk/>
            <pc:sldMk cId="2711885548" sldId="2359"/>
            <ac:spMk id="66" creationId="{F8DA72CB-B691-489E-A1A1-3B1549ED2359}"/>
          </ac:spMkLst>
        </pc:spChg>
        <pc:spChg chg="add del">
          <ac:chgData name="荒居 孝紀" userId="d893e96b-a7aa-4739-8b4a-908515f37dba" providerId="ADAL" clId="{6FE9F128-9CE9-4FCB-9530-772C433C7B79}" dt="2020-10-21T01:38:05.946" v="1333" actId="478"/>
          <ac:spMkLst>
            <pc:docMk/>
            <pc:sldMk cId="2711885548" sldId="2359"/>
            <ac:spMk id="67" creationId="{8511E158-EF95-44AF-AE6F-F530FF81CFC6}"/>
          </ac:spMkLst>
        </pc:spChg>
        <pc:spChg chg="add del">
          <ac:chgData name="荒居 孝紀" userId="d893e96b-a7aa-4739-8b4a-908515f37dba" providerId="ADAL" clId="{6FE9F128-9CE9-4FCB-9530-772C433C7B79}" dt="2020-10-21T01:38:05.946" v="1333" actId="478"/>
          <ac:spMkLst>
            <pc:docMk/>
            <pc:sldMk cId="2711885548" sldId="2359"/>
            <ac:spMk id="68" creationId="{25F06F0B-FA96-4366-9E77-F1AB3ACB3C0C}"/>
          </ac:spMkLst>
        </pc:spChg>
        <pc:spChg chg="add del">
          <ac:chgData name="荒居 孝紀" userId="d893e96b-a7aa-4739-8b4a-908515f37dba" providerId="ADAL" clId="{6FE9F128-9CE9-4FCB-9530-772C433C7B79}" dt="2020-10-21T01:38:09.366" v="1335" actId="478"/>
          <ac:spMkLst>
            <pc:docMk/>
            <pc:sldMk cId="2711885548" sldId="2359"/>
            <ac:spMk id="72" creationId="{4EDD46C0-C11D-4AF2-9B6E-B3F75EB795AA}"/>
          </ac:spMkLst>
        </pc:spChg>
        <pc:spChg chg="add del">
          <ac:chgData name="荒居 孝紀" userId="d893e96b-a7aa-4739-8b4a-908515f37dba" providerId="ADAL" clId="{6FE9F128-9CE9-4FCB-9530-772C433C7B79}" dt="2020-10-21T01:38:09.366" v="1335" actId="478"/>
          <ac:spMkLst>
            <pc:docMk/>
            <pc:sldMk cId="2711885548" sldId="2359"/>
            <ac:spMk id="73" creationId="{F4A049DA-86B9-4924-9B08-2F22C171189D}"/>
          </ac:spMkLst>
        </pc:spChg>
        <pc:spChg chg="add del">
          <ac:chgData name="荒居 孝紀" userId="d893e96b-a7aa-4739-8b4a-908515f37dba" providerId="ADAL" clId="{6FE9F128-9CE9-4FCB-9530-772C433C7B79}" dt="2020-10-21T01:38:09.366" v="1335" actId="478"/>
          <ac:spMkLst>
            <pc:docMk/>
            <pc:sldMk cId="2711885548" sldId="2359"/>
            <ac:spMk id="74" creationId="{5CF9C782-6F46-4565-AAC5-B6287342CABB}"/>
          </ac:spMkLst>
        </pc:spChg>
        <pc:spChg chg="add del mod">
          <ac:chgData name="荒居 孝紀" userId="d893e96b-a7aa-4739-8b4a-908515f37dba" providerId="ADAL" clId="{6FE9F128-9CE9-4FCB-9530-772C433C7B79}" dt="2020-10-21T02:00:24.703" v="1698" actId="478"/>
          <ac:spMkLst>
            <pc:docMk/>
            <pc:sldMk cId="2711885548" sldId="2359"/>
            <ac:spMk id="78" creationId="{55BE0A59-7E87-4076-9049-F063C1C01490}"/>
          </ac:spMkLst>
        </pc:spChg>
        <pc:spChg chg="add">
          <ac:chgData name="荒居 孝紀" userId="d893e96b-a7aa-4739-8b4a-908515f37dba" providerId="ADAL" clId="{6FE9F128-9CE9-4FCB-9530-772C433C7B79}" dt="2020-10-21T02:00:25.420" v="1699"/>
          <ac:spMkLst>
            <pc:docMk/>
            <pc:sldMk cId="2711885548" sldId="2359"/>
            <ac:spMk id="80" creationId="{5BFF5FE1-C3B6-4BE6-92CA-74FC131C81D1}"/>
          </ac:spMkLst>
        </pc:spChg>
        <pc:spChg chg="add">
          <ac:chgData name="荒居 孝紀" userId="d893e96b-a7aa-4739-8b4a-908515f37dba" providerId="ADAL" clId="{6FE9F128-9CE9-4FCB-9530-772C433C7B79}" dt="2020-10-21T02:00:25.420" v="1699"/>
          <ac:spMkLst>
            <pc:docMk/>
            <pc:sldMk cId="2711885548" sldId="2359"/>
            <ac:spMk id="81" creationId="{52E9127C-3327-48A6-9348-F5D6290631BC}"/>
          </ac:spMkLst>
        </pc:spChg>
        <pc:spChg chg="add">
          <ac:chgData name="荒居 孝紀" userId="d893e96b-a7aa-4739-8b4a-908515f37dba" providerId="ADAL" clId="{6FE9F128-9CE9-4FCB-9530-772C433C7B79}" dt="2020-10-21T02:00:25.420" v="1699"/>
          <ac:spMkLst>
            <pc:docMk/>
            <pc:sldMk cId="2711885548" sldId="2359"/>
            <ac:spMk id="82" creationId="{A6A68DF0-CBB4-4423-8438-6DAA79A46981}"/>
          </ac:spMkLst>
        </pc:spChg>
        <pc:spChg chg="add del">
          <ac:chgData name="荒居 孝紀" userId="d893e96b-a7aa-4739-8b4a-908515f37dba" providerId="ADAL" clId="{6FE9F128-9CE9-4FCB-9530-772C433C7B79}" dt="2020-10-21T02:00:27.864" v="1700" actId="478"/>
          <ac:spMkLst>
            <pc:docMk/>
            <pc:sldMk cId="2711885548" sldId="2359"/>
            <ac:spMk id="85" creationId="{AFA911B4-9E53-4358-A986-C7A7C1B92A02}"/>
          </ac:spMkLst>
        </pc:spChg>
        <pc:graphicFrameChg chg="add del mod modGraphic">
          <ac:chgData name="荒居 孝紀" userId="d893e96b-a7aa-4739-8b4a-908515f37dba" providerId="ADAL" clId="{6FE9F128-9CE9-4FCB-9530-772C433C7B79}" dt="2020-10-21T02:00:24.703" v="1698" actId="478"/>
          <ac:graphicFrameMkLst>
            <pc:docMk/>
            <pc:sldMk cId="2711885548" sldId="2359"/>
            <ac:graphicFrameMk id="10" creationId="{C2DEC533-37E3-400F-B91E-204238E694AC}"/>
          </ac:graphicFrameMkLst>
        </pc:graphicFrameChg>
        <pc:graphicFrameChg chg="add del">
          <ac:chgData name="荒居 孝紀" userId="d893e96b-a7aa-4739-8b4a-908515f37dba" providerId="ADAL" clId="{6FE9F128-9CE9-4FCB-9530-772C433C7B79}" dt="2020-10-21T01:33:53.629" v="1320" actId="478"/>
          <ac:graphicFrameMkLst>
            <pc:docMk/>
            <pc:sldMk cId="2711885548" sldId="2359"/>
            <ac:graphicFrameMk id="54" creationId="{852333B0-9295-4A9D-AD33-1A66158EE8E8}"/>
          </ac:graphicFrameMkLst>
        </pc:graphicFrameChg>
        <pc:graphicFrameChg chg="add del">
          <ac:chgData name="荒居 孝紀" userId="d893e96b-a7aa-4739-8b4a-908515f37dba" providerId="ADAL" clId="{6FE9F128-9CE9-4FCB-9530-772C433C7B79}" dt="2020-10-21T01:33:53.629" v="1320" actId="478"/>
          <ac:graphicFrameMkLst>
            <pc:docMk/>
            <pc:sldMk cId="2711885548" sldId="2359"/>
            <ac:graphicFrameMk id="55" creationId="{03952FF8-AB78-47A5-9847-39B52CA114BB}"/>
          </ac:graphicFrameMkLst>
        </pc:graphicFrameChg>
        <pc:graphicFrameChg chg="add">
          <ac:chgData name="荒居 孝紀" userId="d893e96b-a7aa-4739-8b4a-908515f37dba" providerId="ADAL" clId="{6FE9F128-9CE9-4FCB-9530-772C433C7B79}" dt="2020-10-21T01:33:54.330" v="1321"/>
          <ac:graphicFrameMkLst>
            <pc:docMk/>
            <pc:sldMk cId="2711885548" sldId="2359"/>
            <ac:graphicFrameMk id="75" creationId="{77A5887C-9869-40FB-B75B-D08851C8B44C}"/>
          </ac:graphicFrameMkLst>
        </pc:graphicFrameChg>
        <pc:graphicFrameChg chg="add">
          <ac:chgData name="荒居 孝紀" userId="d893e96b-a7aa-4739-8b4a-908515f37dba" providerId="ADAL" clId="{6FE9F128-9CE9-4FCB-9530-772C433C7B79}" dt="2020-10-21T01:33:54.330" v="1321"/>
          <ac:graphicFrameMkLst>
            <pc:docMk/>
            <pc:sldMk cId="2711885548" sldId="2359"/>
            <ac:graphicFrameMk id="76" creationId="{398C3C6A-3695-47C5-9949-CD6F33ECED2C}"/>
          </ac:graphicFrameMkLst>
        </pc:graphicFrameChg>
        <pc:graphicFrameChg chg="add modGraphic">
          <ac:chgData name="荒居 孝紀" userId="d893e96b-a7aa-4739-8b4a-908515f37dba" providerId="ADAL" clId="{6FE9F128-9CE9-4FCB-9530-772C433C7B79}" dt="2020-10-21T02:43:53.680" v="1829" actId="20577"/>
          <ac:graphicFrameMkLst>
            <pc:docMk/>
            <pc:sldMk cId="2711885548" sldId="2359"/>
            <ac:graphicFrameMk id="77" creationId="{42F495B6-D91A-4558-9E24-3964CCD8AF88}"/>
          </ac:graphicFrameMkLst>
        </pc:graphicFrameChg>
        <pc:graphicFrameChg chg="add modGraphic">
          <ac:chgData name="荒居 孝紀" userId="d893e96b-a7aa-4739-8b4a-908515f37dba" providerId="ADAL" clId="{6FE9F128-9CE9-4FCB-9530-772C433C7B79}" dt="2020-10-21T02:44:08.664" v="1833" actId="20577"/>
          <ac:graphicFrameMkLst>
            <pc:docMk/>
            <pc:sldMk cId="2711885548" sldId="2359"/>
            <ac:graphicFrameMk id="86" creationId="{DFE49EF7-1155-4EC0-BE98-F5B1FD5485ED}"/>
          </ac:graphicFrameMkLst>
        </pc:graphicFrameChg>
        <pc:cxnChg chg="del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11" creationId="{F203AD5E-22AA-452E-8BBD-D28F70B56340}"/>
          </ac:cxnSpMkLst>
        </pc:cxnChg>
        <pc:cxnChg chg="del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13" creationId="{96C8A92E-5DF9-41E7-B9B9-FF95963A8B62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17" creationId="{F31F6BB5-6B33-44A9-A379-7AFCEE2E9E0B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18" creationId="{82FBB77A-7116-4B5A-B214-65FBEF666E82}"/>
          </ac:cxnSpMkLst>
        </pc:cxnChg>
        <pc:cxnChg chg="add del mod">
          <ac:chgData name="荒居 孝紀" userId="d893e96b-a7aa-4739-8b4a-908515f37dba" providerId="ADAL" clId="{6FE9F128-9CE9-4FCB-9530-772C433C7B79}" dt="2020-10-21T02:00:24.703" v="1698" actId="478"/>
          <ac:cxnSpMkLst>
            <pc:docMk/>
            <pc:sldMk cId="2711885548" sldId="2359"/>
            <ac:cxnSpMk id="19" creationId="{E33077DE-0CBE-4908-B987-9A0270AC9A70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21" creationId="{CC0C6BEB-A40A-4344-BAE0-1C951E4D41EA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34" creationId="{8FBCB96F-FDDD-44DB-917D-313041CCB359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35" creationId="{A8E95FA4-4611-4D22-B55E-86CF30E059E7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36" creationId="{7DC182F2-B284-42E5-8727-E8C47A589E56}"/>
          </ac:cxnSpMkLst>
        </pc:cxnChg>
        <pc:cxnChg chg="add del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0" creationId="{D4B742CF-7D4D-4592-BE80-E3D3587085CD}"/>
          </ac:cxnSpMkLst>
        </pc:cxnChg>
        <pc:cxnChg chg="add del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1" creationId="{5C39FD4A-6252-48F7-AC39-748A3B3454A1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2" creationId="{D8B15E81-401C-47F4-97FA-831B86C754E6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3" creationId="{BA159F0E-B756-4B99-BA22-ECDC3F778326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4" creationId="{59A1A9F4-19C2-484B-9D87-3FB890909BD7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8" creationId="{96309558-C21A-4AE8-9F85-DE227E2692EE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9" creationId="{DB7864D5-6302-4604-8EB1-5D50606B0764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50" creationId="{552458D8-E9D5-456A-AFD9-F33CA8F76443}"/>
          </ac:cxnSpMkLst>
        </pc:cxnChg>
        <pc:cxnChg chg="add">
          <ac:chgData name="荒居 孝紀" userId="d893e96b-a7aa-4739-8b4a-908515f37dba" providerId="ADAL" clId="{6FE9F128-9CE9-4FCB-9530-772C433C7B79}" dt="2020-10-21T01:33:54.330" v="1321"/>
          <ac:cxnSpMkLst>
            <pc:docMk/>
            <pc:sldMk cId="2711885548" sldId="2359"/>
            <ac:cxnSpMk id="60" creationId="{91662785-43D8-4B74-9EA8-362D080CC5B2}"/>
          </ac:cxnSpMkLst>
        </pc:cxnChg>
        <pc:cxnChg chg="add">
          <ac:chgData name="荒居 孝紀" userId="d893e96b-a7aa-4739-8b4a-908515f37dba" providerId="ADAL" clId="{6FE9F128-9CE9-4FCB-9530-772C433C7B79}" dt="2020-10-21T01:33:54.330" v="1321"/>
          <ac:cxnSpMkLst>
            <pc:docMk/>
            <pc:sldMk cId="2711885548" sldId="2359"/>
            <ac:cxnSpMk id="61" creationId="{407CD02F-4C40-4480-9A62-D48AD3F428A5}"/>
          </ac:cxnSpMkLst>
        </pc:cxnChg>
        <pc:cxnChg chg="add del mod">
          <ac:chgData name="荒居 孝紀" userId="d893e96b-a7aa-4739-8b4a-908515f37dba" providerId="ADAL" clId="{6FE9F128-9CE9-4FCB-9530-772C433C7B79}" dt="2020-10-21T01:38:07.294" v="1334" actId="478"/>
          <ac:cxnSpMkLst>
            <pc:docMk/>
            <pc:sldMk cId="2711885548" sldId="2359"/>
            <ac:cxnSpMk id="63" creationId="{B5D32021-6294-465C-8C20-B511F96C7F7A}"/>
          </ac:cxnSpMkLst>
        </pc:cxnChg>
        <pc:cxnChg chg="add del mod">
          <ac:chgData name="荒居 孝紀" userId="d893e96b-a7aa-4739-8b4a-908515f37dba" providerId="ADAL" clId="{6FE9F128-9CE9-4FCB-9530-772C433C7B79}" dt="2020-10-21T01:38:05.946" v="1333" actId="478"/>
          <ac:cxnSpMkLst>
            <pc:docMk/>
            <pc:sldMk cId="2711885548" sldId="2359"/>
            <ac:cxnSpMk id="64" creationId="{56C8F9D8-3574-475E-B24A-BB574DE706B4}"/>
          </ac:cxnSpMkLst>
        </pc:cxnChg>
        <pc:cxnChg chg="add del mod">
          <ac:chgData name="荒居 孝紀" userId="d893e96b-a7aa-4739-8b4a-908515f37dba" providerId="ADAL" clId="{6FE9F128-9CE9-4FCB-9530-772C433C7B79}" dt="2020-10-21T01:38:05.946" v="1333" actId="478"/>
          <ac:cxnSpMkLst>
            <pc:docMk/>
            <pc:sldMk cId="2711885548" sldId="2359"/>
            <ac:cxnSpMk id="65" creationId="{14F0C71D-DA61-40D0-978B-8B4FAB3DEDF2}"/>
          </ac:cxnSpMkLst>
        </pc:cxnChg>
        <pc:cxnChg chg="add del mod">
          <ac:chgData name="荒居 孝紀" userId="d893e96b-a7aa-4739-8b4a-908515f37dba" providerId="ADAL" clId="{6FE9F128-9CE9-4FCB-9530-772C433C7B79}" dt="2020-10-21T01:38:13.642" v="1338" actId="478"/>
          <ac:cxnSpMkLst>
            <pc:docMk/>
            <pc:sldMk cId="2711885548" sldId="2359"/>
            <ac:cxnSpMk id="69" creationId="{CEFBEAD3-7AC0-4529-9932-386A3C7AF7EA}"/>
          </ac:cxnSpMkLst>
        </pc:cxnChg>
        <pc:cxnChg chg="add del mod">
          <ac:chgData name="荒居 孝紀" userId="d893e96b-a7aa-4739-8b4a-908515f37dba" providerId="ADAL" clId="{6FE9F128-9CE9-4FCB-9530-772C433C7B79}" dt="2020-10-21T01:38:12.057" v="1337" actId="478"/>
          <ac:cxnSpMkLst>
            <pc:docMk/>
            <pc:sldMk cId="2711885548" sldId="2359"/>
            <ac:cxnSpMk id="70" creationId="{38325A4E-8103-44B8-8C40-87C5F78553EB}"/>
          </ac:cxnSpMkLst>
        </pc:cxnChg>
        <pc:cxnChg chg="add del mod">
          <ac:chgData name="荒居 孝紀" userId="d893e96b-a7aa-4739-8b4a-908515f37dba" providerId="ADAL" clId="{6FE9F128-9CE9-4FCB-9530-772C433C7B79}" dt="2020-10-21T01:38:10.998" v="1336" actId="478"/>
          <ac:cxnSpMkLst>
            <pc:docMk/>
            <pc:sldMk cId="2711885548" sldId="2359"/>
            <ac:cxnSpMk id="71" creationId="{DCD572D2-27E0-4DE6-A56E-68AA3A4A32E2}"/>
          </ac:cxnSpMkLst>
        </pc:cxnChg>
        <pc:cxnChg chg="add del mod">
          <ac:chgData name="荒居 孝紀" userId="d893e96b-a7aa-4739-8b4a-908515f37dba" providerId="ADAL" clId="{6FE9F128-9CE9-4FCB-9530-772C433C7B79}" dt="2020-10-21T02:00:24.703" v="1698" actId="478"/>
          <ac:cxnSpMkLst>
            <pc:docMk/>
            <pc:sldMk cId="2711885548" sldId="2359"/>
            <ac:cxnSpMk id="79" creationId="{82EB329E-C5DD-468F-AFB1-6F1008E60212}"/>
          </ac:cxnSpMkLst>
        </pc:cxnChg>
        <pc:cxnChg chg="add">
          <ac:chgData name="荒居 孝紀" userId="d893e96b-a7aa-4739-8b4a-908515f37dba" providerId="ADAL" clId="{6FE9F128-9CE9-4FCB-9530-772C433C7B79}" dt="2020-10-21T02:00:25.420" v="1699"/>
          <ac:cxnSpMkLst>
            <pc:docMk/>
            <pc:sldMk cId="2711885548" sldId="2359"/>
            <ac:cxnSpMk id="83" creationId="{FDE7D47C-BAFD-4EF8-B332-8ABBDBB08D2A}"/>
          </ac:cxnSpMkLst>
        </pc:cxnChg>
        <pc:cxnChg chg="add">
          <ac:chgData name="荒居 孝紀" userId="d893e96b-a7aa-4739-8b4a-908515f37dba" providerId="ADAL" clId="{6FE9F128-9CE9-4FCB-9530-772C433C7B79}" dt="2020-10-21T02:00:25.420" v="1699"/>
          <ac:cxnSpMkLst>
            <pc:docMk/>
            <pc:sldMk cId="2711885548" sldId="2359"/>
            <ac:cxnSpMk id="84" creationId="{326F5B58-EFFD-4DB4-9B2D-5AD065904819}"/>
          </ac:cxnSpMkLst>
        </pc:cxnChg>
      </pc:sldChg>
      <pc:sldChg chg="addSp delSp modSp add del">
        <pc:chgData name="荒居 孝紀" userId="d893e96b-a7aa-4739-8b4a-908515f37dba" providerId="ADAL" clId="{6FE9F128-9CE9-4FCB-9530-772C433C7B79}" dt="2020-10-21T02:41:26.810" v="1702" actId="2696"/>
        <pc:sldMkLst>
          <pc:docMk/>
          <pc:sldMk cId="578846433" sldId="2360"/>
        </pc:sldMkLst>
        <pc:spChg chg="add del mod">
          <ac:chgData name="荒居 孝紀" userId="d893e96b-a7aa-4739-8b4a-908515f37dba" providerId="ADAL" clId="{6FE9F128-9CE9-4FCB-9530-772C433C7B79}" dt="2020-10-21T01:58:07.027" v="1682" actId="478"/>
          <ac:spMkLst>
            <pc:docMk/>
            <pc:sldMk cId="578846433" sldId="2360"/>
            <ac:spMk id="5" creationId="{04650007-5628-474A-BF6F-56872F9A1605}"/>
          </ac:spMkLst>
        </pc:spChg>
        <pc:spChg chg="add del mod">
          <ac:chgData name="荒居 孝紀" userId="d893e96b-a7aa-4739-8b4a-908515f37dba" providerId="ADAL" clId="{6FE9F128-9CE9-4FCB-9530-772C433C7B79}" dt="2020-10-21T01:58:29.694" v="1684" actId="478"/>
          <ac:spMkLst>
            <pc:docMk/>
            <pc:sldMk cId="578846433" sldId="2360"/>
            <ac:spMk id="6" creationId="{2F451275-2815-4296-BED9-FF0118EEA28C}"/>
          </ac:spMkLst>
        </pc:spChg>
        <pc:spChg chg="add mod">
          <ac:chgData name="荒居 孝紀" userId="d893e96b-a7aa-4739-8b4a-908515f37dba" providerId="ADAL" clId="{6FE9F128-9CE9-4FCB-9530-772C433C7B79}" dt="2020-10-21T01:59:08.654" v="1690" actId="14100"/>
          <ac:spMkLst>
            <pc:docMk/>
            <pc:sldMk cId="578846433" sldId="2360"/>
            <ac:spMk id="7" creationId="{D185E2BA-FF6E-4672-8E74-61EF16DE98B5}"/>
          </ac:spMkLst>
        </pc:spChg>
        <pc:graphicFrameChg chg="mod ord">
          <ac:chgData name="荒居 孝紀" userId="d893e96b-a7aa-4739-8b4a-908515f37dba" providerId="ADAL" clId="{6FE9F128-9CE9-4FCB-9530-772C433C7B79}" dt="2020-10-21T01:59:21.703" v="1692" actId="1076"/>
          <ac:graphicFrameMkLst>
            <pc:docMk/>
            <pc:sldMk cId="578846433" sldId="2360"/>
            <ac:graphicFrameMk id="24" creationId="{6F21336C-DA6E-4884-8EFE-3B2C1FD94046}"/>
          </ac:graphicFrameMkLst>
        </pc:graphicFrameChg>
      </pc:sldChg>
      <pc:sldChg chg="addSp modSp add">
        <pc:chgData name="荒居 孝紀" userId="d893e96b-a7aa-4739-8b4a-908515f37dba" providerId="ADAL" clId="{6FE9F128-9CE9-4FCB-9530-772C433C7B79}" dt="2020-10-21T02:57:25.489" v="2062" actId="5793"/>
        <pc:sldMkLst>
          <pc:docMk/>
          <pc:sldMk cId="3838190527" sldId="2361"/>
        </pc:sldMkLst>
        <pc:spChg chg="mod">
          <ac:chgData name="荒居 孝紀" userId="d893e96b-a7aa-4739-8b4a-908515f37dba" providerId="ADAL" clId="{6FE9F128-9CE9-4FCB-9530-772C433C7B79}" dt="2020-10-21T02:46:47.831" v="1969" actId="20577"/>
          <ac:spMkLst>
            <pc:docMk/>
            <pc:sldMk cId="3838190527" sldId="2361"/>
            <ac:spMk id="62" creationId="{003C9424-4CC3-4222-9B1E-FE7C506C9A53}"/>
          </ac:spMkLst>
        </pc:spChg>
        <pc:graphicFrameChg chg="mod modGraphic">
          <ac:chgData name="荒居 孝紀" userId="d893e96b-a7aa-4739-8b4a-908515f37dba" providerId="ADAL" clId="{6FE9F128-9CE9-4FCB-9530-772C433C7B79}" dt="2020-10-21T02:49:01.426" v="2012" actId="20577"/>
          <ac:graphicFrameMkLst>
            <pc:docMk/>
            <pc:sldMk cId="3838190527" sldId="2361"/>
            <ac:graphicFrameMk id="24" creationId="{6F21336C-DA6E-4884-8EFE-3B2C1FD94046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2:49:17.964" v="2016" actId="20577"/>
          <ac:graphicFrameMkLst>
            <pc:docMk/>
            <pc:sldMk cId="3838190527" sldId="2361"/>
            <ac:graphicFrameMk id="35" creationId="{16372CE2-BC1A-458D-9CDC-436557CACDC8}"/>
          </ac:graphicFrameMkLst>
        </pc:graphicFrameChg>
        <pc:graphicFrameChg chg="modGraphic">
          <ac:chgData name="荒居 孝紀" userId="d893e96b-a7aa-4739-8b4a-908515f37dba" providerId="ADAL" clId="{6FE9F128-9CE9-4FCB-9530-772C433C7B79}" dt="2020-10-21T02:57:25.489" v="2062" actId="5793"/>
          <ac:graphicFrameMkLst>
            <pc:docMk/>
            <pc:sldMk cId="3838190527" sldId="2361"/>
            <ac:graphicFrameMk id="54" creationId="{7D18FD56-27C9-40E2-A4FB-656876B62929}"/>
          </ac:graphicFrameMkLst>
        </pc:graphicFrameChg>
        <pc:graphicFrameChg chg="mod modGraphic">
          <ac:chgData name="荒居 孝紀" userId="d893e96b-a7aa-4739-8b4a-908515f37dba" providerId="ADAL" clId="{6FE9F128-9CE9-4FCB-9530-772C433C7B79}" dt="2020-10-21T02:49:33.322" v="2028" actId="20577"/>
          <ac:graphicFrameMkLst>
            <pc:docMk/>
            <pc:sldMk cId="3838190527" sldId="2361"/>
            <ac:graphicFrameMk id="55" creationId="{172177D5-7D4E-424C-AC5A-15E6A1B1CF36}"/>
          </ac:graphicFrameMkLst>
        </pc:graphicFrameChg>
      </pc:sldChg>
      <pc:sldChg chg="add">
        <pc:chgData name="荒居 孝紀" userId="d893e96b-a7aa-4739-8b4a-908515f37dba" providerId="ADAL" clId="{6FE9F128-9CE9-4FCB-9530-772C433C7B79}" dt="2020-10-29T05:03:35.178" v="2063"/>
        <pc:sldMkLst>
          <pc:docMk/>
          <pc:sldMk cId="2294470145" sldId="236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72DE78AD-3F5D-4B7C-A804-AA82634F65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500" cy="5017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7967273-1A2B-48C2-8F61-DFEDEEA7DF2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075" y="0"/>
            <a:ext cx="2984500" cy="5017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4B2C7B-3B5B-4115-9A1A-73859EAC8869}" type="datetimeFigureOut">
              <a:rPr kumimoji="1" lang="ja-JP" altLang="en-US" smtClean="0"/>
              <a:pPr/>
              <a:t>2021/5/22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4A0E57E0-E101-455F-AA2A-981AD46B0EC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8571"/>
            <a:ext cx="2984500" cy="50172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7CC8B675-F384-4612-B5B8-44BF2F0428B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075" y="9518571"/>
            <a:ext cx="2984500" cy="50172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6169CC-40AA-4EE0-9A93-67BA57E6A92A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24693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1" cy="502756"/>
          </a:xfrm>
          <a:prstGeom prst="rect">
            <a:avLst/>
          </a:prstGeom>
        </p:spPr>
        <p:txBody>
          <a:bodyPr vert="horz" lIns="96606" tIns="48303" rIns="96606" bIns="48303" rtlCol="0"/>
          <a:lstStyle>
            <a:lvl1pPr algn="l">
              <a:defRPr sz="1300"/>
            </a:lvl1pPr>
          </a:lstStyle>
          <a:p>
            <a:endParaRPr kumimoji="1"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1" cy="502756"/>
          </a:xfrm>
          <a:prstGeom prst="rect">
            <a:avLst/>
          </a:prstGeom>
        </p:spPr>
        <p:txBody>
          <a:bodyPr vert="horz" lIns="96606" tIns="48303" rIns="96606" bIns="48303" rtlCol="0"/>
          <a:lstStyle>
            <a:lvl1pPr algn="r">
              <a:defRPr sz="1300"/>
            </a:lvl1pPr>
          </a:lstStyle>
          <a:p>
            <a:fld id="{AFD69EEE-DE9D-4ACD-88C6-517B32586D63}" type="datetimeFigureOut">
              <a:rPr kumimoji="1" lang="ko-KR" altLang="en-US" smtClean="0"/>
              <a:pPr/>
              <a:t>2021-05-22</a:t>
            </a:fld>
            <a:endParaRPr kumimoji="1" lang="ko-KR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06" tIns="48303" rIns="96606" bIns="48303" rtlCol="0" anchor="ctr"/>
          <a:lstStyle/>
          <a:p>
            <a:endParaRPr lang="ko-KR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2270"/>
            <a:ext cx="5510530" cy="3945493"/>
          </a:xfrm>
          <a:prstGeom prst="rect">
            <a:avLst/>
          </a:prstGeom>
        </p:spPr>
        <p:txBody>
          <a:bodyPr vert="horz" lIns="96606" tIns="48303" rIns="96606" bIns="48303" rtlCol="0"/>
          <a:lstStyle/>
          <a:p>
            <a:pPr lvl="0"/>
            <a:r>
              <a:rPr kumimoji="1" lang="en-US" altLang="ko-KR"/>
              <a:t>Edit Master text styles</a:t>
            </a:r>
          </a:p>
          <a:p>
            <a:pPr lvl="1"/>
            <a:r>
              <a:rPr kumimoji="1" lang="en-US" altLang="ko-KR"/>
              <a:t>Second level</a:t>
            </a:r>
          </a:p>
          <a:p>
            <a:pPr lvl="2"/>
            <a:r>
              <a:rPr kumimoji="1" lang="en-US" altLang="ko-KR"/>
              <a:t>Third level</a:t>
            </a:r>
          </a:p>
          <a:p>
            <a:pPr lvl="3"/>
            <a:r>
              <a:rPr kumimoji="1" lang="en-US" altLang="ko-KR"/>
              <a:t>Fourth level</a:t>
            </a:r>
          </a:p>
          <a:p>
            <a:pPr lvl="4"/>
            <a:r>
              <a:rPr kumimoji="1" lang="en-US" altLang="ko-KR"/>
              <a:t>Fifth level</a:t>
            </a:r>
            <a:endParaRPr kumimoji="1"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517546"/>
            <a:ext cx="2984871" cy="502754"/>
          </a:xfrm>
          <a:prstGeom prst="rect">
            <a:avLst/>
          </a:prstGeom>
        </p:spPr>
        <p:txBody>
          <a:bodyPr vert="horz" lIns="96606" tIns="48303" rIns="96606" bIns="48303" rtlCol="0" anchor="b"/>
          <a:lstStyle>
            <a:lvl1pPr algn="l">
              <a:defRPr sz="1300"/>
            </a:lvl1pPr>
          </a:lstStyle>
          <a:p>
            <a:endParaRPr kumimoji="1"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699" y="9517546"/>
            <a:ext cx="2984871" cy="502754"/>
          </a:xfrm>
          <a:prstGeom prst="rect">
            <a:avLst/>
          </a:prstGeom>
        </p:spPr>
        <p:txBody>
          <a:bodyPr vert="horz" lIns="96606" tIns="48303" rIns="96606" bIns="48303" rtlCol="0" anchor="b"/>
          <a:lstStyle>
            <a:lvl1pPr algn="r">
              <a:defRPr sz="1300"/>
            </a:lvl1pPr>
          </a:lstStyle>
          <a:p>
            <a:fld id="{E19A1581-0AD6-4C6C-B4DA-B7605B7764F7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367963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193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3.jpe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xfrm>
            <a:off x="4143374" y="1398587"/>
            <a:ext cx="8048625" cy="2387601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>
            <a:lvl1pPr algn="ctr">
              <a:defRPr kumimoji="1" sz="3600" b="0" i="0" kern="1200" dirty="0">
                <a:latin typeface="MS PGothic" panose="020B0600070205080204" pitchFamily="34" charset="-128"/>
                <a:ea typeface="MS PGothic" panose="020B0600070205080204" pitchFamily="34" charset="-128"/>
                <a:cs typeface="Arial" panose="020B0604020202020204" pitchFamily="34" charset="0"/>
              </a:defRPr>
            </a:lvl1pPr>
          </a:lstStyle>
          <a:p>
            <a:pPr lvl="0" eaLnBrk="1" hangingPunct="1">
              <a:lnSpc>
                <a:spcPct val="72000"/>
              </a:lnSpc>
            </a:pPr>
            <a:r>
              <a:rPr dirty="0" err="1"/>
              <a:t>タイトルテキスト</a:t>
            </a:r>
            <a:endParaRPr dirty="0"/>
          </a:p>
        </p:txBody>
      </p:sp>
      <p:sp>
        <p:nvSpPr>
          <p:cNvPr id="15" name="Shape 15"/>
          <p:cNvSpPr>
            <a:spLocks noGrp="1"/>
          </p:cNvSpPr>
          <p:nvPr>
            <p:ph type="body" sz="quarter" idx="1"/>
          </p:nvPr>
        </p:nvSpPr>
        <p:spPr>
          <a:xfrm>
            <a:off x="4143374" y="3878262"/>
            <a:ext cx="8048625" cy="1655763"/>
          </a:xfrm>
          <a:prstGeom prst="rect">
            <a:avLst/>
          </a:prstGeom>
          <a:solidFill>
            <a:srgbClr val="221714">
              <a:alpha val="50000"/>
            </a:srgbClr>
          </a:solidFill>
        </p:spPr>
        <p:txBody>
          <a:bodyPr anchor="ctr"/>
          <a:lstStyle>
            <a:lvl1pPr marL="0" indent="0" algn="ctr">
              <a:buSzTx/>
              <a:buFontTx/>
              <a:buNone/>
              <a:defRPr sz="2400">
                <a:solidFill>
                  <a:srgbClr val="FFFFFF"/>
                </a:solidFill>
                <a:latin typeface="游ゴシック Medium" panose="020B0500000000000000" pitchFamily="50" charset="-128"/>
              </a:defRPr>
            </a:lvl1pPr>
            <a:lvl2pPr marL="0" indent="457200" algn="ctr">
              <a:buSzTx/>
              <a:buFontTx/>
              <a:buNone/>
              <a:defRPr sz="2400">
                <a:solidFill>
                  <a:srgbClr val="FFFFFF"/>
                </a:solidFill>
              </a:defRPr>
            </a:lvl2pPr>
            <a:lvl3pPr marL="0" indent="914400" algn="ctr">
              <a:buSzTx/>
              <a:buFontTx/>
              <a:buNone/>
              <a:defRPr sz="2400">
                <a:solidFill>
                  <a:srgbClr val="FFFFFF"/>
                </a:solidFill>
              </a:defRPr>
            </a:lvl3pPr>
            <a:lvl4pPr marL="0" indent="1371600" algn="ctr"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1828800" algn="ctr"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endParaRPr/>
          </a:p>
        </p:txBody>
      </p:sp>
      <p:sp>
        <p:nvSpPr>
          <p:cNvPr id="16" name="Shape 1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pic>
        <p:nvPicPr>
          <p:cNvPr id="17" name="image1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6741" y="0"/>
            <a:ext cx="2743201" cy="48521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44656506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9661" y="790616"/>
            <a:ext cx="11254154" cy="7381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62" y="6328369"/>
            <a:ext cx="9216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9860" y="255708"/>
            <a:ext cx="8374148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</p:spTree>
    <p:extLst>
      <p:ext uri="{BB962C8B-B14F-4D97-AF65-F5344CB8AC3E}">
        <p14:creationId xmlns:p14="http://schemas.microsoft.com/office/powerpoint/2010/main" val="853069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2">
    <p:bg>
      <p:bgPr>
        <a:solidFill>
          <a:srgbClr val="E400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8652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1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6741" y="0"/>
            <a:ext cx="2743201" cy="485219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hape 2"/>
          <p:cNvSpPr/>
          <p:nvPr userDrawn="1"/>
        </p:nvSpPr>
        <p:spPr>
          <a:xfrm>
            <a:off x="-1" y="6356348"/>
            <a:ext cx="12189942" cy="5016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5" name="Shape 3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altLang="ja-JP" smtClean="0"/>
              <a:pPr/>
              <a:t>‹#›</a:t>
            </a:fld>
            <a:endParaRPr lang="en-US" altLang="ja-JP"/>
          </a:p>
        </p:txBody>
      </p:sp>
      <p:sp>
        <p:nvSpPr>
          <p:cNvPr id="9" name="Shape 2"/>
          <p:cNvSpPr/>
          <p:nvPr userDrawn="1"/>
        </p:nvSpPr>
        <p:spPr>
          <a:xfrm>
            <a:off x="-1" y="485218"/>
            <a:ext cx="292101" cy="968375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" name="Shape 24"/>
          <p:cNvSpPr>
            <a:spLocks noGrp="1"/>
          </p:cNvSpPr>
          <p:nvPr>
            <p:ph type="title"/>
          </p:nvPr>
        </p:nvSpPr>
        <p:spPr>
          <a:xfrm>
            <a:off x="361950" y="485218"/>
            <a:ext cx="11830050" cy="968794"/>
          </a:xfrm>
          <a:prstGeom prst="rect">
            <a:avLst/>
          </a:prstGeom>
          <a:noFill/>
          <a:ln w="12700">
            <a:miter lim="400000"/>
          </a:ln>
        </p:spPr>
        <p:txBody>
          <a:bodyPr lIns="45719" rIns="45719" anchor="ctr">
            <a:normAutofit/>
          </a:bodyPr>
          <a:lstStyle>
            <a:lvl1pPr>
              <a:defRPr kumimoji="1" sz="3200" b="0" i="0" u="none" strike="noStrike" cap="none" spc="0" baseline="0" dirty="0">
                <a:ln>
                  <a:noFill/>
                </a:ln>
                <a:solidFill>
                  <a:schemeClr val="bg1"/>
                </a:solidFill>
                <a:uFillTx/>
                <a:latin typeface="游ゴシック Medium" panose="020B0500000000000000" pitchFamily="50" charset="-128"/>
                <a:ea typeface="游ゴシック Medium" panose="020B0500000000000000" pitchFamily="50" charset="-128"/>
                <a:cs typeface="MS PGothic" panose="020B0600070205080204" pitchFamily="34" charset="-128"/>
                <a:sym typeface="BIZ UDPGothic B"/>
              </a:defRPr>
            </a:lvl1pPr>
          </a:lstStyle>
          <a:p>
            <a:pPr lvl="0"/>
            <a:endParaRPr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-1" y="1454012"/>
            <a:ext cx="12192000" cy="809625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85750" indent="-285750" algn="l" defTabSz="914400" rtl="0" eaLnBrk="1" latinLnBrk="0" hangingPunct="0">
              <a:buClr>
                <a:schemeClr val="bg1"/>
              </a:buClr>
              <a:buFont typeface="Wingdings" panose="05000000000000000000" pitchFamily="2" charset="2"/>
              <a:buChar char="n"/>
              <a:defRPr kumimoji="0" lang="en-US" altLang="ko-KR" sz="18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游ゴシック"/>
                <a:ea typeface="游ゴシック"/>
                <a:cs typeface="游ゴシック"/>
              </a:defRPr>
            </a:lvl1pPr>
            <a:lvl2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kumimoji="1" lang="ko-KR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85750" lvl="0" indent="-285750" eaLnBrk="1" hangingPunct="0">
              <a:buClr>
                <a:srgbClr val="E4004F"/>
              </a:buClr>
              <a:buFont typeface="Wingdings" panose="05000000000000000000" pitchFamily="2" charset="2"/>
              <a:buChar char="n"/>
            </a:pPr>
            <a:r>
              <a:rPr kumimoji="1" lang="en-US" altLang="ko-KR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823224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070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2"/>
          <p:cNvSpPr/>
          <p:nvPr userDrawn="1"/>
        </p:nvSpPr>
        <p:spPr>
          <a:xfrm>
            <a:off x="0" y="0"/>
            <a:ext cx="6096000" cy="6858001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5" name="Shape 3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altLang="ja-JP" smtClean="0"/>
              <a:pPr/>
              <a:t>‹#›</a:t>
            </a:fld>
            <a:endParaRPr lang="en-US" altLang="ja-JP"/>
          </a:p>
        </p:txBody>
      </p:sp>
      <p:pic>
        <p:nvPicPr>
          <p:cNvPr id="9" name="image1.png">
            <a:extLst>
              <a:ext uri="{FF2B5EF4-FFF2-40B4-BE49-F238E27FC236}">
                <a16:creationId xmlns:a16="http://schemas.microsoft.com/office/drawing/2014/main" id="{1B467B13-1F29-9D42-A885-63F195D91F2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77695" y="3168933"/>
            <a:ext cx="2940610" cy="5201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7838948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2"/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5" name="image1.png">
            <a:extLst>
              <a:ext uri="{FF2B5EF4-FFF2-40B4-BE49-F238E27FC236}">
                <a16:creationId xmlns:a16="http://schemas.microsoft.com/office/drawing/2014/main" id="{3BE2D631-E7D9-D747-9379-B53452415A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25695" y="3168933"/>
            <a:ext cx="2940610" cy="5201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5075905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1.png"/>
          <p:cNvPicPr>
            <a:picLocks noChangeAspect="1"/>
          </p:cNvPicPr>
          <p:nvPr userDrawn="1"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5695" y="3168933"/>
            <a:ext cx="2940610" cy="5201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3956279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無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F9FB05CA-132E-4DD2-BEFF-B48D2DC31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60" imgH="360" progId="">
                  <p:embed/>
                </p:oleObj>
              </mc:Choice>
              <mc:Fallback>
                <p:oleObj name="think-cell スライド" r:id="rId4" imgW="360" imgH="360" progId="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F9FB05CA-132E-4DD2-BEFF-B48D2DC31CF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499A5F04-9B85-490F-8E97-24FB2308DE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2400" b="1" i="0" baseline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image1.png">
            <a:extLst>
              <a:ext uri="{FF2B5EF4-FFF2-40B4-BE49-F238E27FC236}">
                <a16:creationId xmlns:a16="http://schemas.microsoft.com/office/drawing/2014/main" id="{C80DDA31-6C7A-4653-8135-FD57EF339AA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2610" y="109360"/>
            <a:ext cx="2628338" cy="46490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hape 2">
            <a:extLst>
              <a:ext uri="{FF2B5EF4-FFF2-40B4-BE49-F238E27FC236}">
                <a16:creationId xmlns:a16="http://schemas.microsoft.com/office/drawing/2014/main" id="{BD4AB524-C030-4170-9467-DFD8D6E0ECAD}"/>
              </a:ext>
            </a:extLst>
          </p:cNvPr>
          <p:cNvSpPr/>
          <p:nvPr userDrawn="1"/>
        </p:nvSpPr>
        <p:spPr>
          <a:xfrm>
            <a:off x="-1" y="6645251"/>
            <a:ext cx="12189942" cy="212749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8" name="Shape 98"/>
          <p:cNvSpPr>
            <a:spLocks noGrp="1"/>
          </p:cNvSpPr>
          <p:nvPr>
            <p:ph type="sldNum" sz="quarter" idx="2"/>
          </p:nvPr>
        </p:nvSpPr>
        <p:spPr>
          <a:xfrm>
            <a:off x="11878455" y="6645251"/>
            <a:ext cx="313545" cy="20572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86CB4B4D-7CA3-9044-876B-883B54F8677D}" type="slidenum">
              <a:rPr lang="en-US" altLang="ja-JP" smtClean="0"/>
              <a:pPr/>
              <a:t>‹#›</a:t>
            </a:fld>
            <a:endParaRPr lang="en-US" altLang="ja-JP"/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10921CE3-23B7-48C2-887B-8D3C33FE48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609" y="404813"/>
            <a:ext cx="10441577" cy="373063"/>
          </a:xfrm>
          <a:noFill/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kumimoji="1" lang="ko-KR" altLang="en-US" sz="2400" b="1" normalizeH="0" dirty="0">
                <a:solidFill>
                  <a:schemeClr val="tx1"/>
                </a:solidFill>
                <a:effectLst/>
                <a:latin typeface="Meiryo UI" panose="020B0604030504040204" pitchFamily="34" charset="-128"/>
                <a:ea typeface="Meiryo UI" panose="020B0604030504040204" pitchFamily="34" charset="-128"/>
                <a:cs typeface="Arial" panose="020B0604020202020204" pitchFamily="34" charset="0"/>
                <a:sym typeface="游ゴシック"/>
              </a:defRPr>
            </a:lvl1pPr>
          </a:lstStyle>
          <a:p>
            <a:pPr lvl="0" fontAlgn="auto" hangingPunct="1"/>
            <a:r>
              <a:rPr kumimoji="1" lang="ja-JP" altLang="en-US"/>
              <a:t>マスタータイトルの書式設定</a:t>
            </a:r>
            <a:endParaRPr kumimoji="1" lang="ko-KR" altLang="en-US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231AF13F-65D4-4AEF-BA5E-9784973FD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84237"/>
            <a:ext cx="11422063" cy="541338"/>
          </a:xfrm>
        </p:spPr>
        <p:txBody>
          <a:bodyPr anchor="t"/>
          <a:lstStyle>
            <a:lvl1pPr marL="0" indent="0">
              <a:buNone/>
              <a:defRPr kumimoji="1" lang="ja-JP" altLang="en-US" sz="1800" normalizeH="0" smtClean="0">
                <a:solidFill>
                  <a:schemeClr val="tx2">
                    <a:lumMod val="50000"/>
                  </a:schemeClr>
                </a:solidFill>
                <a:effectLst/>
                <a:latin typeface="Meiryo UI" panose="020B0604030504040204" pitchFamily="34" charset="-128"/>
                <a:ea typeface="Meiryo UI" panose="020B0604030504040204" pitchFamily="34" charset="-128"/>
                <a:cs typeface="Arial" panose="020B0604020202020204" pitchFamily="34" charset="0"/>
                <a:sym typeface="游ゴシック"/>
              </a:defRPr>
            </a:lvl1pPr>
            <a:lvl2pPr>
              <a:defRPr kumimoji="0" lang="ja-JP" altLang="en-US" sz="4400" normalizeH="0" smtClean="0">
                <a:solidFill>
                  <a:srgbClr val="FFFFFF"/>
                </a:solidFill>
                <a:effectLst/>
                <a:latin typeface="BIZ UDPGothic B"/>
                <a:ea typeface="BIZ UDPGothic B"/>
                <a:cs typeface="BIZ UDPGothic B"/>
                <a:sym typeface="游ゴシック"/>
              </a:defRPr>
            </a:lvl2pPr>
            <a:lvl3pPr>
              <a:defRPr kumimoji="0" lang="ja-JP" altLang="en-US" sz="4400" normalizeH="0" smtClean="0">
                <a:solidFill>
                  <a:srgbClr val="FFFFFF"/>
                </a:solidFill>
                <a:effectLst/>
                <a:latin typeface="BIZ UDPGothic B"/>
                <a:ea typeface="BIZ UDPGothic B"/>
                <a:cs typeface="BIZ UDPGothic B"/>
                <a:sym typeface="游ゴシック"/>
              </a:defRPr>
            </a:lvl3pPr>
            <a:lvl4pPr>
              <a:defRPr kumimoji="0" lang="ja-JP" altLang="en-US" sz="4400" normalizeH="0" smtClean="0">
                <a:solidFill>
                  <a:srgbClr val="FFFFFF"/>
                </a:solidFill>
                <a:effectLst/>
                <a:latin typeface="BIZ UDPGothic B"/>
                <a:ea typeface="BIZ UDPGothic B"/>
                <a:cs typeface="BIZ UDPGothic B"/>
                <a:sym typeface="游ゴシック"/>
              </a:defRPr>
            </a:lvl4pPr>
            <a:lvl5pPr>
              <a:defRPr kumimoji="0" lang="ko-KR" altLang="en-US" sz="4400" normalizeH="0">
                <a:solidFill>
                  <a:srgbClr val="FFFFFF"/>
                </a:solidFill>
                <a:effectLst/>
                <a:latin typeface="BIZ UDPGothic B"/>
                <a:ea typeface="BIZ UDPGothic B"/>
                <a:cs typeface="BIZ UDPGothic B"/>
                <a:sym typeface="游ゴシック"/>
              </a:defRPr>
            </a:lvl5pPr>
          </a:lstStyle>
          <a:p>
            <a:pPr marL="228600" lvl="0" indent="-228600" fontAlgn="auto" hangingPunct="1">
              <a:spcBef>
                <a:spcPts val="0"/>
              </a:spcBef>
              <a:buSzTx/>
            </a:pPr>
            <a:r>
              <a:rPr kumimoji="1" lang="ja-JP" altLang="en-US"/>
              <a:t>マスターテキストの書式設定</a:t>
            </a:r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806126970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2">
    <p:bg>
      <p:bgPr>
        <a:solidFill>
          <a:srgbClr val="E400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1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446741" y="0"/>
            <a:ext cx="2743201" cy="485219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hape 2"/>
          <p:cNvSpPr/>
          <p:nvPr userDrawn="1"/>
        </p:nvSpPr>
        <p:spPr>
          <a:xfrm>
            <a:off x="-1" y="6356348"/>
            <a:ext cx="12189942" cy="5016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5" name="Shape 3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altLang="ja-JP" smtClean="0"/>
              <a:pPr/>
              <a:t>‹#›</a:t>
            </a:fld>
            <a:endParaRPr lang="en-US" altLang="ja-JP"/>
          </a:p>
        </p:txBody>
      </p:sp>
      <p:sp>
        <p:nvSpPr>
          <p:cNvPr id="9" name="Shape 2"/>
          <p:cNvSpPr/>
          <p:nvPr userDrawn="1"/>
        </p:nvSpPr>
        <p:spPr>
          <a:xfrm>
            <a:off x="-1" y="485218"/>
            <a:ext cx="292101" cy="968375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" name="Shape 24"/>
          <p:cNvSpPr>
            <a:spLocks noGrp="1"/>
          </p:cNvSpPr>
          <p:nvPr>
            <p:ph type="title"/>
          </p:nvPr>
        </p:nvSpPr>
        <p:spPr>
          <a:xfrm>
            <a:off x="361950" y="485218"/>
            <a:ext cx="11830050" cy="968794"/>
          </a:xfrm>
          <a:prstGeom prst="rect">
            <a:avLst/>
          </a:prstGeom>
          <a:noFill/>
          <a:ln w="12700">
            <a:miter lim="400000"/>
          </a:ln>
        </p:spPr>
        <p:txBody>
          <a:bodyPr lIns="45719" rIns="45719" anchor="ctr">
            <a:normAutofit/>
          </a:bodyPr>
          <a:lstStyle>
            <a:lvl1pPr>
              <a:defRPr kumimoji="1" sz="3200" b="0" i="0" u="none" strike="noStrike" cap="none" spc="0" baseline="0" dirty="0">
                <a:ln>
                  <a:noFill/>
                </a:ln>
                <a:solidFill>
                  <a:schemeClr val="bg1"/>
                </a:solidFill>
                <a:uFillTx/>
                <a:latin typeface="游ゴシック Medium" panose="020B0500000000000000" pitchFamily="50" charset="-128"/>
                <a:ea typeface="游ゴシック Medium" panose="020B0500000000000000" pitchFamily="50" charset="-128"/>
                <a:cs typeface="MS PGothic" panose="020B0600070205080204" pitchFamily="34" charset="-128"/>
                <a:sym typeface="BIZ UDPGothic B"/>
              </a:defRPr>
            </a:lvl1pPr>
          </a:lstStyle>
          <a:p>
            <a:pPr lvl="0"/>
            <a:endParaRPr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-1" y="1454012"/>
            <a:ext cx="12192000" cy="809625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85750" indent="-285750" algn="l" defTabSz="914400" rtl="0" eaLnBrk="1" latinLnBrk="0" hangingPunct="0">
              <a:buClr>
                <a:schemeClr val="bg1"/>
              </a:buClr>
              <a:buFont typeface="Wingdings" panose="05000000000000000000" pitchFamily="2" charset="2"/>
              <a:buChar char="n"/>
              <a:defRPr kumimoji="0" lang="en-US" altLang="ko-KR" sz="18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游ゴシック"/>
                <a:ea typeface="游ゴシック"/>
                <a:cs typeface="游ゴシック"/>
              </a:defRPr>
            </a:lvl1pPr>
            <a:lvl2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kumimoji="1" lang="ko-KR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85750" lvl="0" indent="-285750" eaLnBrk="1" hangingPunct="0">
              <a:buClr>
                <a:srgbClr val="E4004F"/>
              </a:buClr>
              <a:buFont typeface="Wingdings" panose="05000000000000000000" pitchFamily="2" charset="2"/>
              <a:buChar char="n"/>
            </a:pPr>
            <a:r>
              <a:rPr kumimoji="1" lang="en-US" altLang="ko-KR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807599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裏表紙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2"/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image1.png"/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25695" y="3168933"/>
            <a:ext cx="2940610" cy="5201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91520167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661" y="990002"/>
            <a:ext cx="11254155" cy="276999"/>
          </a:xfrm>
        </p:spPr>
        <p:txBody>
          <a:bodyPr/>
          <a:lstStyle>
            <a:lvl1pPr>
              <a:defRPr sz="1800"/>
            </a:lvl1pPr>
          </a:lstStyle>
          <a:p>
            <a:r>
              <a:rPr lang="ja-JP" altLang="en-US" noProof="0"/>
              <a:t>マスター タイトルの書式設定</a:t>
            </a:r>
            <a:endParaRPr lang="en-US" noProof="0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" y="543600"/>
            <a:ext cx="11732847" cy="283028"/>
          </a:xfrm>
        </p:spPr>
        <p:txBody>
          <a:bodyPr lIns="54000" tIns="0" rIns="0" bIns="0" anchor="ctr" anchorCtr="0">
            <a:noAutofit/>
          </a:bodyPr>
          <a:lstStyle>
            <a:lvl1pPr>
              <a:tabLst>
                <a:tab pos="327025" algn="l"/>
              </a:tabLst>
              <a:defRPr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61" y="6328369"/>
            <a:ext cx="11254155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10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236991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31959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3" imgW="360" imgH="360" progId="">
                  <p:embed/>
                </p:oleObj>
              </mc:Choice>
              <mc:Fallback>
                <p:oleObj name="think-cell スライド" r:id="rId13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1916927" y="6584880"/>
            <a:ext cx="275073" cy="27699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chemeClr val="bg1"/>
                </a:solidFill>
                <a:latin typeface="游ゴシック Medium" panose="020B0500000000000000" pitchFamily="50" charset="-128"/>
                <a:ea typeface="+mj-ea"/>
                <a:cs typeface="+mj-cs"/>
                <a:sym typeface="BIZ UDPGothic"/>
              </a:defRPr>
            </a:lvl1pPr>
          </a:lstStyle>
          <a:p>
            <a:fld id="{86CB4B4D-7CA3-9044-876B-883B54F8677D}" type="slidenum">
              <a:rPr lang="en-US" altLang="ja-JP" smtClean="0">
                <a:ea typeface="游ゴシック Medium" panose="020B0500000000000000" pitchFamily="50" charset="-128"/>
              </a:rPr>
              <a:pPr/>
              <a:t>‹#›</a:t>
            </a:fld>
            <a:endParaRPr lang="en-US" altLang="ja-JP">
              <a:ea typeface="游ゴシック Medium" panose="020B05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33914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8" r:id="rId2"/>
    <p:sldLayoutId id="2147483664" r:id="rId3"/>
    <p:sldLayoutId id="2147483665" r:id="rId4"/>
    <p:sldLayoutId id="2147483667" r:id="rId5"/>
    <p:sldLayoutId id="2147483677" r:id="rId6"/>
    <p:sldLayoutId id="2147483681" r:id="rId7"/>
    <p:sldLayoutId id="2147483683" r:id="rId8"/>
    <p:sldLayoutId id="2147483684" r:id="rId9"/>
    <p:sldLayoutId id="2147483685" r:id="rId10"/>
  </p:sldLayoutIdLst>
  <p:transition spd="med"/>
  <p:hf hdr="0" ftr="0" dt="0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9pPr>
    </p:titleStyle>
    <p:bodyStyle>
      <a:lvl1pPr marL="0" marR="0" indent="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None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游ゴシック Medium" panose="020B0500000000000000" pitchFamily="50" charset="-128"/>
          <a:ea typeface="+mj-ea"/>
          <a:cs typeface="+mj-cs"/>
          <a:sym typeface="BIZ UDPGothic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8BA03D8E-28D9-4D6E-A9B3-FCFB1CC7E7D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035549" y="6632696"/>
            <a:ext cx="156451" cy="230832"/>
          </a:xfrm>
        </p:spPr>
        <p:txBody>
          <a:bodyPr/>
          <a:lstStyle/>
          <a:p>
            <a:fld id="{86CB4B4D-7CA3-9044-876B-883B54F8677D}" type="slidenum">
              <a:rPr lang="en-US" altLang="ja-JP" smtClean="0">
                <a:ea typeface="BIZ UDPゴシック" panose="020B0400000000000000" pitchFamily="50" charset="-128"/>
              </a:rPr>
              <a:pPr/>
              <a:t>1</a:t>
            </a:fld>
            <a:endParaRPr lang="en-US" altLang="ja-JP">
              <a:ea typeface="BIZ UDPゴシック" panose="020B0400000000000000" pitchFamily="50" charset="-128"/>
            </a:endParaRP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61504C2B-6360-4681-9641-85764B528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ea typeface="BIZ UDPゴシック" panose="020B0400000000000000" pitchFamily="50" charset="-128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3DB0BCD3-8A91-482F-AC6E-F00E1847D6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kumimoji="1" lang="ja-JP" altLang="en-US" dirty="0">
              <a:latin typeface="+mn-lt"/>
              <a:ea typeface="BIZ UDPゴシック" panose="020B0400000000000000" pitchFamily="50" charset="-128"/>
            </a:endParaRPr>
          </a:p>
        </p:txBody>
      </p:sp>
      <p:grpSp>
        <p:nvGrpSpPr>
          <p:cNvPr id="253" name="グループ化 252">
            <a:extLst>
              <a:ext uri="{FF2B5EF4-FFF2-40B4-BE49-F238E27FC236}">
                <a16:creationId xmlns:a16="http://schemas.microsoft.com/office/drawing/2014/main" id="{E5DFEE30-0C77-45B9-BCDC-BEF8D61CF5B5}"/>
              </a:ext>
            </a:extLst>
          </p:cNvPr>
          <p:cNvGrpSpPr/>
          <p:nvPr/>
        </p:nvGrpSpPr>
        <p:grpSpPr>
          <a:xfrm>
            <a:off x="1766035" y="1826250"/>
            <a:ext cx="7903742" cy="4435469"/>
            <a:chOff x="1766035" y="1826250"/>
            <a:chExt cx="7903742" cy="4435469"/>
          </a:xfrm>
        </p:grpSpPr>
        <p:grpSp>
          <p:nvGrpSpPr>
            <p:cNvPr id="250" name="グループ化 249">
              <a:extLst>
                <a:ext uri="{FF2B5EF4-FFF2-40B4-BE49-F238E27FC236}">
                  <a16:creationId xmlns:a16="http://schemas.microsoft.com/office/drawing/2014/main" id="{E04335C6-B852-47A5-9121-74D2C511822F}"/>
                </a:ext>
              </a:extLst>
            </p:cNvPr>
            <p:cNvGrpSpPr/>
            <p:nvPr/>
          </p:nvGrpSpPr>
          <p:grpSpPr>
            <a:xfrm>
              <a:off x="8216354" y="4352689"/>
              <a:ext cx="1453423" cy="777240"/>
              <a:chOff x="9368763" y="4640580"/>
              <a:chExt cx="1453423" cy="777240"/>
            </a:xfrm>
          </p:grpSpPr>
          <p:sp>
            <p:nvSpPr>
              <p:cNvPr id="141" name="テキスト ボックス 140">
                <a:extLst>
                  <a:ext uri="{FF2B5EF4-FFF2-40B4-BE49-F238E27FC236}">
                    <a16:creationId xmlns:a16="http://schemas.microsoft.com/office/drawing/2014/main" id="{A7B071A1-85EE-48B3-9DBA-069C25186A96}"/>
                  </a:ext>
                </a:extLst>
              </p:cNvPr>
              <p:cNvSpPr txBox="1"/>
              <p:nvPr/>
            </p:nvSpPr>
            <p:spPr>
              <a:xfrm>
                <a:off x="9877784" y="4728674"/>
                <a:ext cx="85117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Station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sp>
            <p:nvSpPr>
              <p:cNvPr id="142" name="テキスト ボックス 141">
                <a:extLst>
                  <a:ext uri="{FF2B5EF4-FFF2-40B4-BE49-F238E27FC236}">
                    <a16:creationId xmlns:a16="http://schemas.microsoft.com/office/drawing/2014/main" id="{017320DE-8174-43F7-9AB6-0008C1D44D64}"/>
                  </a:ext>
                </a:extLst>
              </p:cNvPr>
              <p:cNvSpPr txBox="1"/>
              <p:nvPr/>
            </p:nvSpPr>
            <p:spPr>
              <a:xfrm>
                <a:off x="9877784" y="5008685"/>
                <a:ext cx="85117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Railway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sp>
            <p:nvSpPr>
              <p:cNvPr id="145" name="楕円 144">
                <a:extLst>
                  <a:ext uri="{FF2B5EF4-FFF2-40B4-BE49-F238E27FC236}">
                    <a16:creationId xmlns:a16="http://schemas.microsoft.com/office/drawing/2014/main" id="{68DF09A7-F369-4E02-B868-2F273BEA6538}"/>
                  </a:ext>
                </a:extLst>
              </p:cNvPr>
              <p:cNvSpPr/>
              <p:nvPr/>
            </p:nvSpPr>
            <p:spPr>
              <a:xfrm>
                <a:off x="9531904" y="4769278"/>
                <a:ext cx="230293" cy="230293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46" name="直線矢印コネクタ 145">
                <a:extLst>
                  <a:ext uri="{FF2B5EF4-FFF2-40B4-BE49-F238E27FC236}">
                    <a16:creationId xmlns:a16="http://schemas.microsoft.com/office/drawing/2014/main" id="{30BA5BF8-1D3C-47C1-8652-E5603B1225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494617" y="5193351"/>
                <a:ext cx="267580" cy="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50" name="正方形/長方形 149">
                <a:extLst>
                  <a:ext uri="{FF2B5EF4-FFF2-40B4-BE49-F238E27FC236}">
                    <a16:creationId xmlns:a16="http://schemas.microsoft.com/office/drawing/2014/main" id="{29B3B921-B951-48E9-92FA-2469A708A1E1}"/>
                  </a:ext>
                </a:extLst>
              </p:cNvPr>
              <p:cNvSpPr/>
              <p:nvPr/>
            </p:nvSpPr>
            <p:spPr>
              <a:xfrm>
                <a:off x="9368763" y="4640580"/>
                <a:ext cx="1453423" cy="777240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95" name="グループ化 194">
              <a:extLst>
                <a:ext uri="{FF2B5EF4-FFF2-40B4-BE49-F238E27FC236}">
                  <a16:creationId xmlns:a16="http://schemas.microsoft.com/office/drawing/2014/main" id="{FC5CF2F9-B9F0-424E-93C5-673BC27C056A}"/>
                </a:ext>
              </a:extLst>
            </p:cNvPr>
            <p:cNvGrpSpPr/>
            <p:nvPr/>
          </p:nvGrpSpPr>
          <p:grpSpPr>
            <a:xfrm>
              <a:off x="1766035" y="1826250"/>
              <a:ext cx="3731128" cy="3839814"/>
              <a:chOff x="1353429" y="1570767"/>
              <a:chExt cx="3731128" cy="3839814"/>
            </a:xfrm>
          </p:grpSpPr>
          <p:cxnSp>
            <p:nvCxnSpPr>
              <p:cNvPr id="159" name="コネクタ: 曲線 158">
                <a:extLst>
                  <a:ext uri="{FF2B5EF4-FFF2-40B4-BE49-F238E27FC236}">
                    <a16:creationId xmlns:a16="http://schemas.microsoft.com/office/drawing/2014/main" id="{F88EE267-2FF5-4FFB-99AC-7EF22F81B4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62954" y="1759109"/>
                <a:ext cx="3712484" cy="3575272"/>
              </a:xfrm>
              <a:prstGeom prst="curvedConnector3">
                <a:avLst>
                  <a:gd name="adj1" fmla="val 59236"/>
                </a:avLst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62" name="コネクタ: 曲線 161">
                <a:extLst>
                  <a:ext uri="{FF2B5EF4-FFF2-40B4-BE49-F238E27FC236}">
                    <a16:creationId xmlns:a16="http://schemas.microsoft.com/office/drawing/2014/main" id="{DEB02A55-E2D9-4492-AF9F-B06C473E256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53429" y="1835309"/>
                <a:ext cx="3712484" cy="3575272"/>
              </a:xfrm>
              <a:prstGeom prst="curvedConnector3">
                <a:avLst>
                  <a:gd name="adj1" fmla="val 61032"/>
                </a:avLst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67" name="コネクタ: 曲線 166">
                <a:extLst>
                  <a:ext uri="{FF2B5EF4-FFF2-40B4-BE49-F238E27FC236}">
                    <a16:creationId xmlns:a16="http://schemas.microsoft.com/office/drawing/2014/main" id="{8A6B98CE-0D59-4DBC-9B6F-B0BA98A45A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72073" y="1797209"/>
                <a:ext cx="3712484" cy="3575272"/>
              </a:xfrm>
              <a:prstGeom prst="curvedConnector3">
                <a:avLst>
                  <a:gd name="adj1" fmla="val 60006"/>
                </a:avLst>
              </a:prstGeom>
              <a:noFill/>
              <a:ln w="76200" cap="flat">
                <a:solidFill>
                  <a:schemeClr val="tx1"/>
                </a:solidFill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82" name="直線コネクタ 181">
                <a:extLst>
                  <a:ext uri="{FF2B5EF4-FFF2-40B4-BE49-F238E27FC236}">
                    <a16:creationId xmlns:a16="http://schemas.microsoft.com/office/drawing/2014/main" id="{AC031CFA-CE8F-4009-8296-143E603A4A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2229" y="1570767"/>
                <a:ext cx="377512" cy="1802601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85" name="直線コネクタ 184">
                <a:extLst>
                  <a:ext uri="{FF2B5EF4-FFF2-40B4-BE49-F238E27FC236}">
                    <a16:creationId xmlns:a16="http://schemas.microsoft.com/office/drawing/2014/main" id="{4E0F7135-6963-4DDF-8847-F7847AAAD0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6225" y="1608867"/>
                <a:ext cx="377512" cy="1802601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53" name="正方形/長方形 152">
                <a:extLst>
                  <a:ext uri="{FF2B5EF4-FFF2-40B4-BE49-F238E27FC236}">
                    <a16:creationId xmlns:a16="http://schemas.microsoft.com/office/drawing/2014/main" id="{9E339290-134F-4077-AEEC-712E7384B01B}"/>
                  </a:ext>
                </a:extLst>
              </p:cNvPr>
              <p:cNvSpPr/>
              <p:nvPr/>
            </p:nvSpPr>
            <p:spPr>
              <a:xfrm rot="16477121">
                <a:off x="3362175" y="3533774"/>
                <a:ext cx="457953" cy="135653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90" name="直線コネクタ 189">
                <a:extLst>
                  <a:ext uri="{FF2B5EF4-FFF2-40B4-BE49-F238E27FC236}">
                    <a16:creationId xmlns:a16="http://schemas.microsoft.com/office/drawing/2014/main" id="{A850E014-A2D1-4C9E-AD24-1B3902D013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2627" y="1570767"/>
                <a:ext cx="343670" cy="1641005"/>
              </a:xfrm>
              <a:prstGeom prst="line">
                <a:avLst/>
              </a:prstGeom>
              <a:noFill/>
              <a:ln w="76200" cap="flat">
                <a:solidFill>
                  <a:schemeClr val="tx1"/>
                </a:solidFill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92" name="正方形/長方形 191">
                <a:extLst>
                  <a:ext uri="{FF2B5EF4-FFF2-40B4-BE49-F238E27FC236}">
                    <a16:creationId xmlns:a16="http://schemas.microsoft.com/office/drawing/2014/main" id="{97267C0B-A2A0-4BE8-B670-1105467C47AF}"/>
                  </a:ext>
                </a:extLst>
              </p:cNvPr>
              <p:cNvSpPr/>
              <p:nvPr/>
            </p:nvSpPr>
            <p:spPr>
              <a:xfrm rot="21029144">
                <a:off x="1512927" y="5266553"/>
                <a:ext cx="457953" cy="135653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93" name="正方形/長方形 192">
                <a:extLst>
                  <a:ext uri="{FF2B5EF4-FFF2-40B4-BE49-F238E27FC236}">
                    <a16:creationId xmlns:a16="http://schemas.microsoft.com/office/drawing/2014/main" id="{7C8C749C-D57D-4411-92E9-B9E5F9FA1323}"/>
                  </a:ext>
                </a:extLst>
              </p:cNvPr>
              <p:cNvSpPr/>
              <p:nvPr/>
            </p:nvSpPr>
            <p:spPr>
              <a:xfrm rot="20219649">
                <a:off x="4378345" y="1852764"/>
                <a:ext cx="457953" cy="135653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94" name="正方形/長方形 193">
                <a:extLst>
                  <a:ext uri="{FF2B5EF4-FFF2-40B4-BE49-F238E27FC236}">
                    <a16:creationId xmlns:a16="http://schemas.microsoft.com/office/drawing/2014/main" id="{EEEC0D79-B68B-49F1-9645-25532A4A1042}"/>
                  </a:ext>
                </a:extLst>
              </p:cNvPr>
              <p:cNvSpPr/>
              <p:nvPr/>
            </p:nvSpPr>
            <p:spPr>
              <a:xfrm rot="15473891">
                <a:off x="3060519" y="1826526"/>
                <a:ext cx="457953" cy="135653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248" name="グループ化 247">
              <a:extLst>
                <a:ext uri="{FF2B5EF4-FFF2-40B4-BE49-F238E27FC236}">
                  <a16:creationId xmlns:a16="http://schemas.microsoft.com/office/drawing/2014/main" id="{8BB27A88-D5C5-4772-9F8B-89BA8854EE9C}"/>
                </a:ext>
              </a:extLst>
            </p:cNvPr>
            <p:cNvGrpSpPr/>
            <p:nvPr/>
          </p:nvGrpSpPr>
          <p:grpSpPr>
            <a:xfrm>
              <a:off x="6164989" y="1911727"/>
              <a:ext cx="3285496" cy="3745479"/>
              <a:chOff x="5424164" y="1922068"/>
              <a:chExt cx="3285496" cy="3745479"/>
            </a:xfrm>
          </p:grpSpPr>
          <p:sp>
            <p:nvSpPr>
              <p:cNvPr id="9" name="楕円 8">
                <a:extLst>
                  <a:ext uri="{FF2B5EF4-FFF2-40B4-BE49-F238E27FC236}">
                    <a16:creationId xmlns:a16="http://schemas.microsoft.com/office/drawing/2014/main" id="{8B9BC028-14A0-4D12-A8DB-5F1B09602477}"/>
                  </a:ext>
                </a:extLst>
              </p:cNvPr>
              <p:cNvSpPr/>
              <p:nvPr/>
            </p:nvSpPr>
            <p:spPr>
              <a:xfrm>
                <a:off x="7970667" y="2119795"/>
                <a:ext cx="271306" cy="27130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2" name="楕円 11">
                <a:extLst>
                  <a:ext uri="{FF2B5EF4-FFF2-40B4-BE49-F238E27FC236}">
                    <a16:creationId xmlns:a16="http://schemas.microsoft.com/office/drawing/2014/main" id="{EEC5212D-56DB-4D77-AA7D-DC13E946A1F8}"/>
                  </a:ext>
                </a:extLst>
              </p:cNvPr>
              <p:cNvSpPr/>
              <p:nvPr/>
            </p:nvSpPr>
            <p:spPr>
              <a:xfrm>
                <a:off x="6224354" y="5336682"/>
                <a:ext cx="271306" cy="27130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4" name="楕円 13">
                <a:extLst>
                  <a:ext uri="{FF2B5EF4-FFF2-40B4-BE49-F238E27FC236}">
                    <a16:creationId xmlns:a16="http://schemas.microsoft.com/office/drawing/2014/main" id="{A2352C43-AE7E-4916-96D7-66726B147362}"/>
                  </a:ext>
                </a:extLst>
              </p:cNvPr>
              <p:cNvSpPr/>
              <p:nvPr/>
            </p:nvSpPr>
            <p:spPr>
              <a:xfrm>
                <a:off x="6514751" y="2417519"/>
                <a:ext cx="271306" cy="27130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" name="楕円 14">
                <a:extLst>
                  <a:ext uri="{FF2B5EF4-FFF2-40B4-BE49-F238E27FC236}">
                    <a16:creationId xmlns:a16="http://schemas.microsoft.com/office/drawing/2014/main" id="{2AC91B8B-776C-4DA2-A782-2CFF9D932473}"/>
                  </a:ext>
                </a:extLst>
              </p:cNvPr>
              <p:cNvSpPr/>
              <p:nvPr/>
            </p:nvSpPr>
            <p:spPr>
              <a:xfrm>
                <a:off x="6940802" y="3632127"/>
                <a:ext cx="271306" cy="27130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6" name="直線矢印コネクタ 15">
                <a:extLst>
                  <a:ext uri="{FF2B5EF4-FFF2-40B4-BE49-F238E27FC236}">
                    <a16:creationId xmlns:a16="http://schemas.microsoft.com/office/drawing/2014/main" id="{CAD2835B-A41B-4850-93BA-2228D6356A88}"/>
                  </a:ext>
                </a:extLst>
              </p:cNvPr>
              <p:cNvCxnSpPr>
                <a:cxnSpLocks/>
                <a:stCxn id="15" idx="3"/>
                <a:endCxn id="12" idx="0"/>
              </p:cNvCxnSpPr>
              <p:nvPr/>
            </p:nvCxnSpPr>
            <p:spPr>
              <a:xfrm flipH="1">
                <a:off x="6360007" y="3863701"/>
                <a:ext cx="620527" cy="147298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6" name="直線矢印コネクタ 25">
                <a:extLst>
                  <a:ext uri="{FF2B5EF4-FFF2-40B4-BE49-F238E27FC236}">
                    <a16:creationId xmlns:a16="http://schemas.microsoft.com/office/drawing/2014/main" id="{27966898-386C-46FB-95A6-3FAFF5C1E58B}"/>
                  </a:ext>
                </a:extLst>
              </p:cNvPr>
              <p:cNvCxnSpPr>
                <a:cxnSpLocks/>
                <a:stCxn id="14" idx="4"/>
                <a:endCxn id="15" idx="1"/>
              </p:cNvCxnSpPr>
              <p:nvPr/>
            </p:nvCxnSpPr>
            <p:spPr>
              <a:xfrm>
                <a:off x="6650404" y="2688825"/>
                <a:ext cx="330130" cy="983034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30" name="直線矢印コネクタ 29">
                <a:extLst>
                  <a:ext uri="{FF2B5EF4-FFF2-40B4-BE49-F238E27FC236}">
                    <a16:creationId xmlns:a16="http://schemas.microsoft.com/office/drawing/2014/main" id="{12541030-3D4A-4AC8-93CE-A2944FF29C82}"/>
                  </a:ext>
                </a:extLst>
              </p:cNvPr>
              <p:cNvCxnSpPr>
                <a:cxnSpLocks/>
                <a:stCxn id="9" idx="3"/>
                <a:endCxn id="15" idx="0"/>
              </p:cNvCxnSpPr>
              <p:nvPr/>
            </p:nvCxnSpPr>
            <p:spPr>
              <a:xfrm flipH="1">
                <a:off x="7076455" y="2351369"/>
                <a:ext cx="933944" cy="1280758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74" name="直線矢印コネクタ 73">
                <a:extLst>
                  <a:ext uri="{FF2B5EF4-FFF2-40B4-BE49-F238E27FC236}">
                    <a16:creationId xmlns:a16="http://schemas.microsoft.com/office/drawing/2014/main" id="{038AFAA1-2311-40E8-9339-8AA9311FFAE6}"/>
                  </a:ext>
                </a:extLst>
              </p:cNvPr>
              <p:cNvCxnSpPr>
                <a:cxnSpLocks/>
                <a:stCxn id="15" idx="0"/>
                <a:endCxn id="14" idx="5"/>
              </p:cNvCxnSpPr>
              <p:nvPr/>
            </p:nvCxnSpPr>
            <p:spPr>
              <a:xfrm flipH="1" flipV="1">
                <a:off x="6746325" y="2649093"/>
                <a:ext cx="330130" cy="983034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05" name="直線矢印コネクタ 104">
                <a:extLst>
                  <a:ext uri="{FF2B5EF4-FFF2-40B4-BE49-F238E27FC236}">
                    <a16:creationId xmlns:a16="http://schemas.microsoft.com/office/drawing/2014/main" id="{5664D160-EC85-406E-B83F-ED7AD2F48433}"/>
                  </a:ext>
                </a:extLst>
              </p:cNvPr>
              <p:cNvCxnSpPr>
                <a:cxnSpLocks/>
                <a:stCxn id="12" idx="7"/>
                <a:endCxn id="15" idx="4"/>
              </p:cNvCxnSpPr>
              <p:nvPr/>
            </p:nvCxnSpPr>
            <p:spPr>
              <a:xfrm flipV="1">
                <a:off x="6455928" y="3903433"/>
                <a:ext cx="620527" cy="147298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10" name="直線矢印コネクタ 109">
                <a:extLst>
                  <a:ext uri="{FF2B5EF4-FFF2-40B4-BE49-F238E27FC236}">
                    <a16:creationId xmlns:a16="http://schemas.microsoft.com/office/drawing/2014/main" id="{F80C978C-F3DC-477D-B733-E8EF8CC664B3}"/>
                  </a:ext>
                </a:extLst>
              </p:cNvPr>
              <p:cNvCxnSpPr>
                <a:cxnSpLocks/>
                <a:stCxn id="15" idx="7"/>
                <a:endCxn id="9" idx="4"/>
              </p:cNvCxnSpPr>
              <p:nvPr/>
            </p:nvCxnSpPr>
            <p:spPr>
              <a:xfrm flipV="1">
                <a:off x="7172376" y="2391101"/>
                <a:ext cx="933944" cy="1280758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15" name="直線矢印コネクタ 114">
                <a:extLst>
                  <a:ext uri="{FF2B5EF4-FFF2-40B4-BE49-F238E27FC236}">
                    <a16:creationId xmlns:a16="http://schemas.microsoft.com/office/drawing/2014/main" id="{28791C4C-DC2C-4AB4-BD5D-C449CE41166C}"/>
                  </a:ext>
                </a:extLst>
              </p:cNvPr>
              <p:cNvCxnSpPr>
                <a:cxnSpLocks/>
                <a:endCxn id="12" idx="3"/>
              </p:cNvCxnSpPr>
              <p:nvPr/>
            </p:nvCxnSpPr>
            <p:spPr>
              <a:xfrm flipV="1">
                <a:off x="5424164" y="5568256"/>
                <a:ext cx="839922" cy="9929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0" name="直線矢印コネクタ 119">
                <a:extLst>
                  <a:ext uri="{FF2B5EF4-FFF2-40B4-BE49-F238E27FC236}">
                    <a16:creationId xmlns:a16="http://schemas.microsoft.com/office/drawing/2014/main" id="{FB078CFC-FD10-4A47-A298-7425F1887F0A}"/>
                  </a:ext>
                </a:extLst>
              </p:cNvPr>
              <p:cNvCxnSpPr>
                <a:cxnSpLocks/>
                <a:stCxn id="12" idx="2"/>
              </p:cNvCxnSpPr>
              <p:nvPr/>
            </p:nvCxnSpPr>
            <p:spPr>
              <a:xfrm flipH="1">
                <a:off x="5558330" y="5472335"/>
                <a:ext cx="666024" cy="7141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6" name="直線矢印コネクタ 125">
                <a:extLst>
                  <a:ext uri="{FF2B5EF4-FFF2-40B4-BE49-F238E27FC236}">
                    <a16:creationId xmlns:a16="http://schemas.microsoft.com/office/drawing/2014/main" id="{A8EAD358-9A76-4B45-BC91-64E020C41B90}"/>
                  </a:ext>
                </a:extLst>
              </p:cNvPr>
              <p:cNvCxnSpPr>
                <a:cxnSpLocks/>
                <a:endCxn id="9" idx="6"/>
              </p:cNvCxnSpPr>
              <p:nvPr/>
            </p:nvCxnSpPr>
            <p:spPr>
              <a:xfrm flipH="1">
                <a:off x="8241973" y="2012812"/>
                <a:ext cx="467687" cy="242636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35" name="直線矢印コネクタ 134">
                <a:extLst>
                  <a:ext uri="{FF2B5EF4-FFF2-40B4-BE49-F238E27FC236}">
                    <a16:creationId xmlns:a16="http://schemas.microsoft.com/office/drawing/2014/main" id="{30303D0B-EECA-458C-8220-5EC8ED00A283}"/>
                  </a:ext>
                </a:extLst>
              </p:cNvPr>
              <p:cNvCxnSpPr>
                <a:cxnSpLocks/>
                <a:stCxn id="9" idx="7"/>
              </p:cNvCxnSpPr>
              <p:nvPr/>
            </p:nvCxnSpPr>
            <p:spPr>
              <a:xfrm flipV="1">
                <a:off x="8202241" y="1922068"/>
                <a:ext cx="423599" cy="237459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40" name="直線矢印コネクタ 239">
                <a:extLst>
                  <a:ext uri="{FF2B5EF4-FFF2-40B4-BE49-F238E27FC236}">
                    <a16:creationId xmlns:a16="http://schemas.microsoft.com/office/drawing/2014/main" id="{3ABC48E9-D655-465A-AF40-FE804ED9BF12}"/>
                  </a:ext>
                </a:extLst>
              </p:cNvPr>
              <p:cNvCxnSpPr>
                <a:cxnSpLocks/>
                <a:endCxn id="14" idx="0"/>
              </p:cNvCxnSpPr>
              <p:nvPr/>
            </p:nvCxnSpPr>
            <p:spPr>
              <a:xfrm>
                <a:off x="6482328" y="2012812"/>
                <a:ext cx="168076" cy="404707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41" name="直線矢印コネクタ 240">
                <a:extLst>
                  <a:ext uri="{FF2B5EF4-FFF2-40B4-BE49-F238E27FC236}">
                    <a16:creationId xmlns:a16="http://schemas.microsoft.com/office/drawing/2014/main" id="{391D8594-1892-47F8-B947-FB4D37FEF423}"/>
                  </a:ext>
                </a:extLst>
              </p:cNvPr>
              <p:cNvCxnSpPr>
                <a:cxnSpLocks/>
                <a:stCxn id="14" idx="1"/>
              </p:cNvCxnSpPr>
              <p:nvPr/>
            </p:nvCxnSpPr>
            <p:spPr>
              <a:xfrm flipH="1" flipV="1">
                <a:off x="6410174" y="2111140"/>
                <a:ext cx="144309" cy="34611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sp>
          <p:nvSpPr>
            <p:cNvPr id="251" name="テキスト ボックス 250">
              <a:extLst>
                <a:ext uri="{FF2B5EF4-FFF2-40B4-BE49-F238E27FC236}">
                  <a16:creationId xmlns:a16="http://schemas.microsoft.com/office/drawing/2014/main" id="{09DC1717-A19F-471D-8E23-A87F63D59CBA}"/>
                </a:ext>
              </a:extLst>
            </p:cNvPr>
            <p:cNvSpPr txBox="1"/>
            <p:nvPr/>
          </p:nvSpPr>
          <p:spPr>
            <a:xfrm>
              <a:off x="2516448" y="5953944"/>
              <a:ext cx="196250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dirty="0">
                  <a:solidFill>
                    <a:srgbClr val="221714"/>
                  </a:solidFill>
                  <a:ea typeface="BIZ UDPゴシック" panose="020B0400000000000000" pitchFamily="50" charset="-128"/>
                  <a:cs typeface="游ゴシック"/>
                  <a:sym typeface="游ゴシック"/>
                </a:rPr>
                <a:t>Existent rail network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252" name="テキスト ボックス 251">
              <a:extLst>
                <a:ext uri="{FF2B5EF4-FFF2-40B4-BE49-F238E27FC236}">
                  <a16:creationId xmlns:a16="http://schemas.microsoft.com/office/drawing/2014/main" id="{979659C3-B4D4-4068-BCFD-E004D17CE6B3}"/>
                </a:ext>
              </a:extLst>
            </p:cNvPr>
            <p:cNvSpPr txBox="1"/>
            <p:nvPr/>
          </p:nvSpPr>
          <p:spPr>
            <a:xfrm>
              <a:off x="6421187" y="5953944"/>
              <a:ext cx="196250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dirty="0" err="1">
                  <a:solidFill>
                    <a:srgbClr val="221714"/>
                  </a:solidFill>
                  <a:ea typeface="BIZ UDPゴシック" panose="020B0400000000000000" pitchFamily="50" charset="-128"/>
                  <a:cs typeface="游ゴシック"/>
                  <a:sym typeface="游ゴシック"/>
                </a:rPr>
                <a:t>TraISARE</a:t>
              </a:r>
              <a:r>
                <a:rPr kumimoji="0" lang="en-US" altLang="ja-JP" sz="1400" dirty="0">
                  <a:solidFill>
                    <a:srgbClr val="221714"/>
                  </a:solidFill>
                  <a:ea typeface="BIZ UDPゴシック" panose="020B0400000000000000" pitchFamily="50" charset="-128"/>
                  <a:cs typeface="游ゴシック"/>
                  <a:sym typeface="游ゴシック"/>
                </a:rPr>
                <a:t> rail network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447014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C6C50C3B-A915-4D52-9EDE-E1D9E4F6126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035549" y="6632696"/>
            <a:ext cx="156451" cy="230832"/>
          </a:xfrm>
        </p:spPr>
        <p:txBody>
          <a:bodyPr/>
          <a:lstStyle/>
          <a:p>
            <a:fld id="{86CB4B4D-7CA3-9044-876B-883B54F8677D}" type="slidenum">
              <a:rPr lang="en-US" altLang="ja-JP" smtClean="0">
                <a:ea typeface="BIZ UDPゴシック" panose="020B0400000000000000" pitchFamily="50" charset="-128"/>
              </a:rPr>
              <a:pPr/>
              <a:t>2</a:t>
            </a:fld>
            <a:endParaRPr lang="en-US" altLang="ja-JP">
              <a:ea typeface="BIZ UDPゴシック" panose="020B0400000000000000" pitchFamily="50" charset="-128"/>
            </a:endParaRP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C6489D9B-877D-4E47-AA04-D89ED9898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 dirty="0">
              <a:ea typeface="BIZ UDPゴシック" panose="020B0400000000000000" pitchFamily="50" charset="-128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FAC637F7-0651-4A8C-85E6-48DB89D490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kumimoji="1" lang="ja-JP" altLang="en-US" dirty="0">
              <a:ea typeface="BIZ UDPゴシック" panose="020B0400000000000000" pitchFamily="50" charset="-128"/>
            </a:endParaRPr>
          </a:p>
        </p:txBody>
      </p: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CFD3DA1C-80F2-4A22-B3BA-4E052FBEA2C2}"/>
              </a:ext>
            </a:extLst>
          </p:cNvPr>
          <p:cNvGrpSpPr/>
          <p:nvPr/>
        </p:nvGrpSpPr>
        <p:grpSpPr>
          <a:xfrm>
            <a:off x="2043599" y="1606264"/>
            <a:ext cx="8599977" cy="4511466"/>
            <a:chOff x="2043599" y="1606264"/>
            <a:chExt cx="8599977" cy="4511466"/>
          </a:xfrm>
        </p:grpSpPr>
        <p:cxnSp>
          <p:nvCxnSpPr>
            <p:cNvPr id="132" name="直線コネクタ 131">
              <a:extLst>
                <a:ext uri="{FF2B5EF4-FFF2-40B4-BE49-F238E27FC236}">
                  <a16:creationId xmlns:a16="http://schemas.microsoft.com/office/drawing/2014/main" id="{BFAEFCA0-DF88-4D0B-B0D4-75CBD5894854}"/>
                </a:ext>
              </a:extLst>
            </p:cNvPr>
            <p:cNvCxnSpPr>
              <a:cxnSpLocks/>
              <a:stCxn id="53" idx="4"/>
            </p:cNvCxnSpPr>
            <p:nvPr/>
          </p:nvCxnSpPr>
          <p:spPr>
            <a:xfrm>
              <a:off x="2189669" y="4430900"/>
              <a:ext cx="0" cy="137953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" name="楕円 5">
              <a:extLst>
                <a:ext uri="{FF2B5EF4-FFF2-40B4-BE49-F238E27FC236}">
                  <a16:creationId xmlns:a16="http://schemas.microsoft.com/office/drawing/2014/main" id="{E6A56447-B9DF-4002-9B9B-1735638A6AC3}"/>
                </a:ext>
              </a:extLst>
            </p:cNvPr>
            <p:cNvSpPr/>
            <p:nvPr/>
          </p:nvSpPr>
          <p:spPr>
            <a:xfrm>
              <a:off x="7791853" y="3445123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3" name="楕円 12">
              <a:extLst>
                <a:ext uri="{FF2B5EF4-FFF2-40B4-BE49-F238E27FC236}">
                  <a16:creationId xmlns:a16="http://schemas.microsoft.com/office/drawing/2014/main" id="{93156AF2-E191-48DB-BE3A-732C84892279}"/>
                </a:ext>
              </a:extLst>
            </p:cNvPr>
            <p:cNvSpPr/>
            <p:nvPr/>
          </p:nvSpPr>
          <p:spPr>
            <a:xfrm>
              <a:off x="4087602" y="3445123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26" name="直線矢印コネクタ 25">
              <a:extLst>
                <a:ext uri="{FF2B5EF4-FFF2-40B4-BE49-F238E27FC236}">
                  <a16:creationId xmlns:a16="http://schemas.microsoft.com/office/drawing/2014/main" id="{2E38C2E5-7E65-4E02-832C-C43831A66C13}"/>
                </a:ext>
              </a:extLst>
            </p:cNvPr>
            <p:cNvCxnSpPr>
              <a:cxnSpLocks/>
              <a:stCxn id="13" idx="6"/>
              <a:endCxn id="6" idx="2"/>
            </p:cNvCxnSpPr>
            <p:nvPr/>
          </p:nvCxnSpPr>
          <p:spPr>
            <a:xfrm>
              <a:off x="4358908" y="3580776"/>
              <a:ext cx="3432945" cy="0"/>
            </a:xfrm>
            <a:prstGeom prst="straightConnector1">
              <a:avLst/>
            </a:prstGeom>
            <a:noFill/>
            <a:ln w="50800" cap="flat">
              <a:solidFill>
                <a:schemeClr val="accent1"/>
              </a:solidFill>
              <a:prstDash val="solid"/>
              <a:miter lim="800000"/>
              <a:headEnd type="non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3" name="楕円 52">
              <a:extLst>
                <a:ext uri="{FF2B5EF4-FFF2-40B4-BE49-F238E27FC236}">
                  <a16:creationId xmlns:a16="http://schemas.microsoft.com/office/drawing/2014/main" id="{EA739A6D-AB6B-4349-8CA7-9BAA967083FC}"/>
                </a:ext>
              </a:extLst>
            </p:cNvPr>
            <p:cNvSpPr/>
            <p:nvPr/>
          </p:nvSpPr>
          <p:spPr>
            <a:xfrm>
              <a:off x="2054016" y="4159594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68" name="直線矢印コネクタ 67">
              <a:extLst>
                <a:ext uri="{FF2B5EF4-FFF2-40B4-BE49-F238E27FC236}">
                  <a16:creationId xmlns:a16="http://schemas.microsoft.com/office/drawing/2014/main" id="{462EA8BA-6FEE-4DE7-A777-BB69E8F04C7B}"/>
                </a:ext>
              </a:extLst>
            </p:cNvPr>
            <p:cNvCxnSpPr>
              <a:cxnSpLocks/>
              <a:stCxn id="53" idx="7"/>
              <a:endCxn id="13" idx="3"/>
            </p:cNvCxnSpPr>
            <p:nvPr/>
          </p:nvCxnSpPr>
          <p:spPr>
            <a:xfrm flipV="1">
              <a:off x="2285590" y="3676697"/>
              <a:ext cx="1841744" cy="522629"/>
            </a:xfrm>
            <a:prstGeom prst="straightConnector1">
              <a:avLst/>
            </a:prstGeom>
            <a:noFill/>
            <a:ln w="50800" cap="flat">
              <a:solidFill>
                <a:schemeClr val="accent1"/>
              </a:solidFill>
              <a:prstDash val="solid"/>
              <a:miter lim="800000"/>
              <a:headEnd type="non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73" name="楕円 72">
              <a:extLst>
                <a:ext uri="{FF2B5EF4-FFF2-40B4-BE49-F238E27FC236}">
                  <a16:creationId xmlns:a16="http://schemas.microsoft.com/office/drawing/2014/main" id="{D4D9A920-BB1B-46EA-B258-67FA2FF2246C}"/>
                </a:ext>
              </a:extLst>
            </p:cNvPr>
            <p:cNvSpPr/>
            <p:nvPr/>
          </p:nvSpPr>
          <p:spPr>
            <a:xfrm>
              <a:off x="2054016" y="2604546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74" name="直線矢印コネクタ 73">
              <a:extLst>
                <a:ext uri="{FF2B5EF4-FFF2-40B4-BE49-F238E27FC236}">
                  <a16:creationId xmlns:a16="http://schemas.microsoft.com/office/drawing/2014/main" id="{A7F6FE4A-ACDA-457A-84B2-ED344D6D4380}"/>
                </a:ext>
              </a:extLst>
            </p:cNvPr>
            <p:cNvCxnSpPr>
              <a:cxnSpLocks/>
              <a:stCxn id="73" idx="6"/>
              <a:endCxn id="13" idx="1"/>
            </p:cNvCxnSpPr>
            <p:nvPr/>
          </p:nvCxnSpPr>
          <p:spPr>
            <a:xfrm>
              <a:off x="2325322" y="2740199"/>
              <a:ext cx="1802012" cy="744656"/>
            </a:xfrm>
            <a:prstGeom prst="straightConnector1">
              <a:avLst/>
            </a:prstGeom>
            <a:noFill/>
            <a:ln w="50800" cap="flat">
              <a:solidFill>
                <a:schemeClr val="accent1"/>
              </a:solidFill>
              <a:prstDash val="solid"/>
              <a:miter lim="800000"/>
              <a:headEnd type="non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88" name="楕円 87">
              <a:extLst>
                <a:ext uri="{FF2B5EF4-FFF2-40B4-BE49-F238E27FC236}">
                  <a16:creationId xmlns:a16="http://schemas.microsoft.com/office/drawing/2014/main" id="{5989BB1C-3EDD-4120-8863-39FE24DD1A2D}"/>
                </a:ext>
              </a:extLst>
            </p:cNvPr>
            <p:cNvSpPr/>
            <p:nvPr/>
          </p:nvSpPr>
          <p:spPr>
            <a:xfrm>
              <a:off x="4087602" y="2734410"/>
              <a:ext cx="271306" cy="271306"/>
            </a:xfrm>
            <a:prstGeom prst="ellipse">
              <a:avLst/>
            </a:prstGeom>
            <a:noFill/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90" name="楕円 89">
              <a:extLst>
                <a:ext uri="{FF2B5EF4-FFF2-40B4-BE49-F238E27FC236}">
                  <a16:creationId xmlns:a16="http://schemas.microsoft.com/office/drawing/2014/main" id="{CBD4E75B-99C4-4009-9EF7-7A92E3F1DD68}"/>
                </a:ext>
              </a:extLst>
            </p:cNvPr>
            <p:cNvSpPr/>
            <p:nvPr/>
          </p:nvSpPr>
          <p:spPr>
            <a:xfrm>
              <a:off x="2054016" y="5411497"/>
              <a:ext cx="271306" cy="271306"/>
            </a:xfrm>
            <a:prstGeom prst="ellipse">
              <a:avLst/>
            </a:prstGeom>
            <a:solidFill>
              <a:srgbClr val="FFFFFF"/>
            </a:solidFill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91" name="楕円 90">
              <a:extLst>
                <a:ext uri="{FF2B5EF4-FFF2-40B4-BE49-F238E27FC236}">
                  <a16:creationId xmlns:a16="http://schemas.microsoft.com/office/drawing/2014/main" id="{4FA61FB9-205C-496C-B8FD-F7D7C9B40322}"/>
                </a:ext>
              </a:extLst>
            </p:cNvPr>
            <p:cNvSpPr/>
            <p:nvPr/>
          </p:nvSpPr>
          <p:spPr>
            <a:xfrm>
              <a:off x="2043599" y="1833886"/>
              <a:ext cx="271306" cy="271306"/>
            </a:xfrm>
            <a:prstGeom prst="ellipse">
              <a:avLst/>
            </a:prstGeom>
            <a:noFill/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95" name="直線矢印コネクタ 94">
              <a:extLst>
                <a:ext uri="{FF2B5EF4-FFF2-40B4-BE49-F238E27FC236}">
                  <a16:creationId xmlns:a16="http://schemas.microsoft.com/office/drawing/2014/main" id="{E7D376F1-D54F-4A35-A06C-A59E73BDD4D4}"/>
                </a:ext>
              </a:extLst>
            </p:cNvPr>
            <p:cNvCxnSpPr>
              <a:cxnSpLocks/>
              <a:stCxn id="88" idx="2"/>
              <a:endCxn id="91" idx="5"/>
            </p:cNvCxnSpPr>
            <p:nvPr/>
          </p:nvCxnSpPr>
          <p:spPr>
            <a:xfrm flipH="1" flipV="1">
              <a:off x="2275173" y="2065460"/>
              <a:ext cx="1812429" cy="804603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99" name="直線矢印コネクタ 98">
              <a:extLst>
                <a:ext uri="{FF2B5EF4-FFF2-40B4-BE49-F238E27FC236}">
                  <a16:creationId xmlns:a16="http://schemas.microsoft.com/office/drawing/2014/main" id="{74DAD6DD-538F-4881-992E-EA62FE3A677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19177" y="2835356"/>
              <a:ext cx="3418054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02" name="楕円 101">
              <a:extLst>
                <a:ext uri="{FF2B5EF4-FFF2-40B4-BE49-F238E27FC236}">
                  <a16:creationId xmlns:a16="http://schemas.microsoft.com/office/drawing/2014/main" id="{48A35D9D-6CAB-4141-9CE3-F66500B2E47C}"/>
                </a:ext>
              </a:extLst>
            </p:cNvPr>
            <p:cNvSpPr/>
            <p:nvPr/>
          </p:nvSpPr>
          <p:spPr>
            <a:xfrm>
              <a:off x="7791853" y="2734410"/>
              <a:ext cx="271306" cy="271306"/>
            </a:xfrm>
            <a:prstGeom prst="ellipse">
              <a:avLst/>
            </a:prstGeom>
            <a:noFill/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113" name="直線矢印コネクタ 112">
              <a:extLst>
                <a:ext uri="{FF2B5EF4-FFF2-40B4-BE49-F238E27FC236}">
                  <a16:creationId xmlns:a16="http://schemas.microsoft.com/office/drawing/2014/main" id="{1592ECED-D32E-420C-894F-F404C737E08A}"/>
                </a:ext>
              </a:extLst>
            </p:cNvPr>
            <p:cNvCxnSpPr>
              <a:cxnSpLocks/>
              <a:stCxn id="90" idx="6"/>
              <a:endCxn id="87" idx="3"/>
            </p:cNvCxnSpPr>
            <p:nvPr/>
          </p:nvCxnSpPr>
          <p:spPr>
            <a:xfrm flipV="1">
              <a:off x="2325322" y="4790108"/>
              <a:ext cx="1802012" cy="757042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 w="med" len="med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6" name="直線矢印コネクタ 115">
              <a:extLst>
                <a:ext uri="{FF2B5EF4-FFF2-40B4-BE49-F238E27FC236}">
                  <a16:creationId xmlns:a16="http://schemas.microsoft.com/office/drawing/2014/main" id="{51EC1878-FC41-4E17-95E4-36F40E4EB526}"/>
                </a:ext>
              </a:extLst>
            </p:cNvPr>
            <p:cNvCxnSpPr>
              <a:cxnSpLocks/>
              <a:stCxn id="87" idx="2"/>
              <a:endCxn id="90" idx="7"/>
            </p:cNvCxnSpPr>
            <p:nvPr/>
          </p:nvCxnSpPr>
          <p:spPr>
            <a:xfrm flipH="1">
              <a:off x="2285590" y="4694187"/>
              <a:ext cx="1802012" cy="757042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 w="med" len="med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1" name="直線矢印コネクタ 120">
              <a:extLst>
                <a:ext uri="{FF2B5EF4-FFF2-40B4-BE49-F238E27FC236}">
                  <a16:creationId xmlns:a16="http://schemas.microsoft.com/office/drawing/2014/main" id="{598F3559-F478-4D3F-894C-FEC42B44E4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58908" y="4603755"/>
              <a:ext cx="3432945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 w="med" len="med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6" name="直線コネクタ 125">
              <a:extLst>
                <a:ext uri="{FF2B5EF4-FFF2-40B4-BE49-F238E27FC236}">
                  <a16:creationId xmlns:a16="http://schemas.microsoft.com/office/drawing/2014/main" id="{3E3C616C-D534-476C-8404-BE07252B02DC}"/>
                </a:ext>
              </a:extLst>
            </p:cNvPr>
            <p:cNvCxnSpPr>
              <a:cxnSpLocks/>
              <a:stCxn id="91" idx="4"/>
              <a:endCxn id="73" idx="0"/>
            </p:cNvCxnSpPr>
            <p:nvPr/>
          </p:nvCxnSpPr>
          <p:spPr>
            <a:xfrm>
              <a:off x="2179252" y="2105192"/>
              <a:ext cx="10417" cy="499354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9" name="直線コネクタ 128">
              <a:extLst>
                <a:ext uri="{FF2B5EF4-FFF2-40B4-BE49-F238E27FC236}">
                  <a16:creationId xmlns:a16="http://schemas.microsoft.com/office/drawing/2014/main" id="{417EA5F9-E482-4559-92B6-2F8C4F4EDE3F}"/>
                </a:ext>
              </a:extLst>
            </p:cNvPr>
            <p:cNvCxnSpPr>
              <a:cxnSpLocks/>
              <a:stCxn id="88" idx="4"/>
              <a:endCxn id="13" idx="0"/>
            </p:cNvCxnSpPr>
            <p:nvPr/>
          </p:nvCxnSpPr>
          <p:spPr>
            <a:xfrm>
              <a:off x="4223255" y="3005716"/>
              <a:ext cx="0" cy="43940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8" name="直線コネクタ 137">
              <a:extLst>
                <a:ext uri="{FF2B5EF4-FFF2-40B4-BE49-F238E27FC236}">
                  <a16:creationId xmlns:a16="http://schemas.microsoft.com/office/drawing/2014/main" id="{BC9EAC16-7802-4E74-B28B-9FB0D156ACDA}"/>
                </a:ext>
              </a:extLst>
            </p:cNvPr>
            <p:cNvCxnSpPr>
              <a:cxnSpLocks/>
              <a:stCxn id="13" idx="4"/>
            </p:cNvCxnSpPr>
            <p:nvPr/>
          </p:nvCxnSpPr>
          <p:spPr>
            <a:xfrm>
              <a:off x="4223255" y="3716429"/>
              <a:ext cx="0" cy="124525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2" name="直線コネクタ 141">
              <a:extLst>
                <a:ext uri="{FF2B5EF4-FFF2-40B4-BE49-F238E27FC236}">
                  <a16:creationId xmlns:a16="http://schemas.microsoft.com/office/drawing/2014/main" id="{3722A7B4-EEB9-4FD4-B28A-E34570991A78}"/>
                </a:ext>
              </a:extLst>
            </p:cNvPr>
            <p:cNvCxnSpPr>
              <a:cxnSpLocks/>
              <a:stCxn id="6" idx="4"/>
              <a:endCxn id="89" idx="0"/>
            </p:cNvCxnSpPr>
            <p:nvPr/>
          </p:nvCxnSpPr>
          <p:spPr>
            <a:xfrm>
              <a:off x="7927506" y="3716429"/>
              <a:ext cx="0" cy="84210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5" name="直線コネクタ 144">
              <a:extLst>
                <a:ext uri="{FF2B5EF4-FFF2-40B4-BE49-F238E27FC236}">
                  <a16:creationId xmlns:a16="http://schemas.microsoft.com/office/drawing/2014/main" id="{00320860-D655-4B33-987D-E947E653F594}"/>
                </a:ext>
              </a:extLst>
            </p:cNvPr>
            <p:cNvCxnSpPr>
              <a:cxnSpLocks/>
              <a:stCxn id="102" idx="4"/>
              <a:endCxn id="6" idx="0"/>
            </p:cNvCxnSpPr>
            <p:nvPr/>
          </p:nvCxnSpPr>
          <p:spPr>
            <a:xfrm>
              <a:off x="7927506" y="3005716"/>
              <a:ext cx="0" cy="43940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156" name="グループ化 155">
              <a:extLst>
                <a:ext uri="{FF2B5EF4-FFF2-40B4-BE49-F238E27FC236}">
                  <a16:creationId xmlns:a16="http://schemas.microsoft.com/office/drawing/2014/main" id="{7CB5D306-46B7-4F4F-B011-676A2005313D}"/>
                </a:ext>
              </a:extLst>
            </p:cNvPr>
            <p:cNvGrpSpPr/>
            <p:nvPr/>
          </p:nvGrpSpPr>
          <p:grpSpPr>
            <a:xfrm rot="1466896">
              <a:off x="3037114" y="1606264"/>
              <a:ext cx="1080295" cy="980222"/>
              <a:chOff x="5555852" y="1156038"/>
              <a:chExt cx="1080295" cy="980222"/>
            </a:xfrm>
          </p:grpSpPr>
          <p:sp>
            <p:nvSpPr>
              <p:cNvPr id="150" name="楕円 149">
                <a:extLst>
                  <a:ext uri="{FF2B5EF4-FFF2-40B4-BE49-F238E27FC236}">
                    <a16:creationId xmlns:a16="http://schemas.microsoft.com/office/drawing/2014/main" id="{BA97BC8F-D96F-421E-8158-EFCF6EFD22DB}"/>
                  </a:ext>
                </a:extLst>
              </p:cNvPr>
              <p:cNvSpPr/>
              <p:nvPr/>
            </p:nvSpPr>
            <p:spPr>
              <a:xfrm>
                <a:off x="5707193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1" name="楕円 150">
                <a:extLst>
                  <a:ext uri="{FF2B5EF4-FFF2-40B4-BE49-F238E27FC236}">
                    <a16:creationId xmlns:a16="http://schemas.microsoft.com/office/drawing/2014/main" id="{00D641C9-0F94-48B5-97D0-53554294B28B}"/>
                  </a:ext>
                </a:extLst>
              </p:cNvPr>
              <p:cNvSpPr/>
              <p:nvPr/>
            </p:nvSpPr>
            <p:spPr>
              <a:xfrm>
                <a:off x="6171670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5" name="ひし形 154">
                <a:extLst>
                  <a:ext uri="{FF2B5EF4-FFF2-40B4-BE49-F238E27FC236}">
                    <a16:creationId xmlns:a16="http://schemas.microsoft.com/office/drawing/2014/main" id="{B8C2069C-34BE-48B1-9A72-0795281A05F3}"/>
                  </a:ext>
                </a:extLst>
              </p:cNvPr>
              <p:cNvSpPr/>
              <p:nvPr/>
            </p:nvSpPr>
            <p:spPr>
              <a:xfrm>
                <a:off x="5650422" y="1156038"/>
                <a:ext cx="326097" cy="231563"/>
              </a:xfrm>
              <a:prstGeom prst="diamond">
                <a:avLst/>
              </a:prstGeom>
              <a:noFill/>
              <a:ln w="12700" cap="flat">
                <a:solidFill>
                  <a:schemeClr val="accent6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49" name="フローチャート: 手操作入力 148">
                <a:extLst>
                  <a:ext uri="{FF2B5EF4-FFF2-40B4-BE49-F238E27FC236}">
                    <a16:creationId xmlns:a16="http://schemas.microsoft.com/office/drawing/2014/main" id="{50566676-3CB5-4050-A573-3CB6CE07D610}"/>
                  </a:ext>
                </a:extLst>
              </p:cNvPr>
              <p:cNvSpPr/>
              <p:nvPr/>
            </p:nvSpPr>
            <p:spPr>
              <a:xfrm rot="5400000">
                <a:off x="5801884" y="1100880"/>
                <a:ext cx="588231" cy="1080295"/>
              </a:xfrm>
              <a:prstGeom prst="flowChartManualInput">
                <a:avLst/>
              </a:prstGeom>
              <a:solidFill>
                <a:schemeClr val="accent6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57" name="グループ化 156">
              <a:extLst>
                <a:ext uri="{FF2B5EF4-FFF2-40B4-BE49-F238E27FC236}">
                  <a16:creationId xmlns:a16="http://schemas.microsoft.com/office/drawing/2014/main" id="{E415BA7F-F5C1-46BF-875E-3815907BFCF5}"/>
                </a:ext>
              </a:extLst>
            </p:cNvPr>
            <p:cNvGrpSpPr/>
            <p:nvPr/>
          </p:nvGrpSpPr>
          <p:grpSpPr>
            <a:xfrm>
              <a:off x="5670885" y="3633626"/>
              <a:ext cx="1080295" cy="980222"/>
              <a:chOff x="5555852" y="1156038"/>
              <a:chExt cx="1080295" cy="980222"/>
            </a:xfrm>
          </p:grpSpPr>
          <p:sp>
            <p:nvSpPr>
              <p:cNvPr id="158" name="楕円 157">
                <a:extLst>
                  <a:ext uri="{FF2B5EF4-FFF2-40B4-BE49-F238E27FC236}">
                    <a16:creationId xmlns:a16="http://schemas.microsoft.com/office/drawing/2014/main" id="{425FCD91-73D1-476B-BC2B-F5BB94982AC7}"/>
                  </a:ext>
                </a:extLst>
              </p:cNvPr>
              <p:cNvSpPr/>
              <p:nvPr/>
            </p:nvSpPr>
            <p:spPr>
              <a:xfrm>
                <a:off x="5707193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9" name="楕円 158">
                <a:extLst>
                  <a:ext uri="{FF2B5EF4-FFF2-40B4-BE49-F238E27FC236}">
                    <a16:creationId xmlns:a16="http://schemas.microsoft.com/office/drawing/2014/main" id="{A32D81EC-1964-459A-A3B1-1B86F6B9AE79}"/>
                  </a:ext>
                </a:extLst>
              </p:cNvPr>
              <p:cNvSpPr/>
              <p:nvPr/>
            </p:nvSpPr>
            <p:spPr>
              <a:xfrm>
                <a:off x="6171670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60" name="ひし形 159">
                <a:extLst>
                  <a:ext uri="{FF2B5EF4-FFF2-40B4-BE49-F238E27FC236}">
                    <a16:creationId xmlns:a16="http://schemas.microsoft.com/office/drawing/2014/main" id="{402BB603-08F1-44E3-B388-06ECC8F5EB22}"/>
                  </a:ext>
                </a:extLst>
              </p:cNvPr>
              <p:cNvSpPr/>
              <p:nvPr/>
            </p:nvSpPr>
            <p:spPr>
              <a:xfrm>
                <a:off x="5650422" y="1156038"/>
                <a:ext cx="326097" cy="231563"/>
              </a:xfrm>
              <a:prstGeom prst="diamond">
                <a:avLst/>
              </a:prstGeom>
              <a:noFill/>
              <a:ln w="12700" cap="flat">
                <a:solidFill>
                  <a:schemeClr val="accent3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61" name="フローチャート: 手操作入力 160">
                <a:extLst>
                  <a:ext uri="{FF2B5EF4-FFF2-40B4-BE49-F238E27FC236}">
                    <a16:creationId xmlns:a16="http://schemas.microsoft.com/office/drawing/2014/main" id="{D2A467DA-97D7-445C-8E64-EE32F632E2CD}"/>
                  </a:ext>
                </a:extLst>
              </p:cNvPr>
              <p:cNvSpPr/>
              <p:nvPr/>
            </p:nvSpPr>
            <p:spPr>
              <a:xfrm rot="5400000">
                <a:off x="5801884" y="1100880"/>
                <a:ext cx="588231" cy="1080295"/>
              </a:xfrm>
              <a:prstGeom prst="flowChartManualInput">
                <a:avLst/>
              </a:prstGeom>
              <a:solidFill>
                <a:schemeClr val="accent3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76" name="グループ化 175">
              <a:extLst>
                <a:ext uri="{FF2B5EF4-FFF2-40B4-BE49-F238E27FC236}">
                  <a16:creationId xmlns:a16="http://schemas.microsoft.com/office/drawing/2014/main" id="{2117C518-0D2C-4ACF-93D9-116D72F31BA3}"/>
                </a:ext>
              </a:extLst>
            </p:cNvPr>
            <p:cNvGrpSpPr/>
            <p:nvPr/>
          </p:nvGrpSpPr>
          <p:grpSpPr>
            <a:xfrm rot="9369950">
              <a:off x="2862267" y="5137508"/>
              <a:ext cx="1080295" cy="980222"/>
              <a:chOff x="5555852" y="1156038"/>
              <a:chExt cx="1080295" cy="980222"/>
            </a:xfrm>
          </p:grpSpPr>
          <p:sp>
            <p:nvSpPr>
              <p:cNvPr id="177" name="楕円 176">
                <a:extLst>
                  <a:ext uri="{FF2B5EF4-FFF2-40B4-BE49-F238E27FC236}">
                    <a16:creationId xmlns:a16="http://schemas.microsoft.com/office/drawing/2014/main" id="{1646E24A-949E-4EEF-B750-85FD29CF263F}"/>
                  </a:ext>
                </a:extLst>
              </p:cNvPr>
              <p:cNvSpPr/>
              <p:nvPr/>
            </p:nvSpPr>
            <p:spPr>
              <a:xfrm>
                <a:off x="5707193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78" name="楕円 177">
                <a:extLst>
                  <a:ext uri="{FF2B5EF4-FFF2-40B4-BE49-F238E27FC236}">
                    <a16:creationId xmlns:a16="http://schemas.microsoft.com/office/drawing/2014/main" id="{A46396CD-1A6D-486F-B000-91C7E1A3D8D3}"/>
                  </a:ext>
                </a:extLst>
              </p:cNvPr>
              <p:cNvSpPr/>
              <p:nvPr/>
            </p:nvSpPr>
            <p:spPr>
              <a:xfrm>
                <a:off x="6171670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79" name="ひし形 178">
                <a:extLst>
                  <a:ext uri="{FF2B5EF4-FFF2-40B4-BE49-F238E27FC236}">
                    <a16:creationId xmlns:a16="http://schemas.microsoft.com/office/drawing/2014/main" id="{1A583CD2-5704-4C19-966E-C927BD7B16FC}"/>
                  </a:ext>
                </a:extLst>
              </p:cNvPr>
              <p:cNvSpPr/>
              <p:nvPr/>
            </p:nvSpPr>
            <p:spPr>
              <a:xfrm>
                <a:off x="5650422" y="1156038"/>
                <a:ext cx="326097" cy="231563"/>
              </a:xfrm>
              <a:prstGeom prst="diamond">
                <a:avLst/>
              </a:prstGeom>
              <a:noFill/>
              <a:ln w="12700" cap="flat">
                <a:solidFill>
                  <a:schemeClr val="accent3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80" name="フローチャート: 手操作入力 179">
                <a:extLst>
                  <a:ext uri="{FF2B5EF4-FFF2-40B4-BE49-F238E27FC236}">
                    <a16:creationId xmlns:a16="http://schemas.microsoft.com/office/drawing/2014/main" id="{2EE32D58-581F-4A16-A4ED-B781469D68B9}"/>
                  </a:ext>
                </a:extLst>
              </p:cNvPr>
              <p:cNvSpPr/>
              <p:nvPr/>
            </p:nvSpPr>
            <p:spPr>
              <a:xfrm rot="5400000">
                <a:off x="5801884" y="1100880"/>
                <a:ext cx="588231" cy="1080295"/>
              </a:xfrm>
              <a:prstGeom prst="flowChartManualInput">
                <a:avLst/>
              </a:prstGeom>
              <a:solidFill>
                <a:schemeClr val="accent3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sp>
          <p:nvSpPr>
            <p:cNvPr id="222" name="テキスト ボックス 221">
              <a:extLst>
                <a:ext uri="{FF2B5EF4-FFF2-40B4-BE49-F238E27FC236}">
                  <a16:creationId xmlns:a16="http://schemas.microsoft.com/office/drawing/2014/main" id="{CB560C50-1C32-4838-8009-E91C975E381F}"/>
                </a:ext>
              </a:extLst>
            </p:cNvPr>
            <p:cNvSpPr txBox="1"/>
            <p:nvPr/>
          </p:nvSpPr>
          <p:spPr>
            <a:xfrm rot="1491645">
              <a:off x="3074276" y="1828612"/>
              <a:ext cx="1021002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rPr>
                <a:t>GreenLine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223" name="テキスト ボックス 222">
              <a:extLst>
                <a:ext uri="{FF2B5EF4-FFF2-40B4-BE49-F238E27FC236}">
                  <a16:creationId xmlns:a16="http://schemas.microsoft.com/office/drawing/2014/main" id="{8DA09812-98BB-4EBF-84B4-B12FE1291CA7}"/>
                </a:ext>
              </a:extLst>
            </p:cNvPr>
            <p:cNvSpPr txBox="1"/>
            <p:nvPr/>
          </p:nvSpPr>
          <p:spPr>
            <a:xfrm>
              <a:off x="5712256" y="3825464"/>
              <a:ext cx="1021002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rPr>
                <a:t>BlueLine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224" name="テキスト ボックス 223">
              <a:extLst>
                <a:ext uri="{FF2B5EF4-FFF2-40B4-BE49-F238E27FC236}">
                  <a16:creationId xmlns:a16="http://schemas.microsoft.com/office/drawing/2014/main" id="{80238836-C9F7-4A08-BA18-56FB252A11E0}"/>
                </a:ext>
              </a:extLst>
            </p:cNvPr>
            <p:cNvSpPr txBox="1"/>
            <p:nvPr/>
          </p:nvSpPr>
          <p:spPr>
            <a:xfrm rot="9371355">
              <a:off x="2903312" y="5619451"/>
              <a:ext cx="1021002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rPr>
                <a:t>BlueLine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225" name="テキスト ボックス 224">
              <a:extLst>
                <a:ext uri="{FF2B5EF4-FFF2-40B4-BE49-F238E27FC236}">
                  <a16:creationId xmlns:a16="http://schemas.microsoft.com/office/drawing/2014/main" id="{C8971D01-C039-4331-A6EA-7338CE98458A}"/>
                </a:ext>
              </a:extLst>
            </p:cNvPr>
            <p:cNvSpPr txBox="1"/>
            <p:nvPr/>
          </p:nvSpPr>
          <p:spPr>
            <a:xfrm rot="1442016">
              <a:off x="3084917" y="2043859"/>
              <a:ext cx="874399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rPr>
                <a:t>Inboud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226" name="テキスト ボックス 225">
              <a:extLst>
                <a:ext uri="{FF2B5EF4-FFF2-40B4-BE49-F238E27FC236}">
                  <a16:creationId xmlns:a16="http://schemas.microsoft.com/office/drawing/2014/main" id="{B726430A-8F6C-4E16-9B8C-405EECA57EB2}"/>
                </a:ext>
              </a:extLst>
            </p:cNvPr>
            <p:cNvSpPr txBox="1"/>
            <p:nvPr/>
          </p:nvSpPr>
          <p:spPr>
            <a:xfrm>
              <a:off x="5785557" y="4060709"/>
              <a:ext cx="874399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rPr>
                <a:t>Inboud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227" name="テキスト ボックス 226">
              <a:extLst>
                <a:ext uri="{FF2B5EF4-FFF2-40B4-BE49-F238E27FC236}">
                  <a16:creationId xmlns:a16="http://schemas.microsoft.com/office/drawing/2014/main" id="{A99C9F24-0E58-417B-87EF-3CF08D010B0A}"/>
                </a:ext>
              </a:extLst>
            </p:cNvPr>
            <p:cNvSpPr txBox="1"/>
            <p:nvPr/>
          </p:nvSpPr>
          <p:spPr>
            <a:xfrm rot="9315672">
              <a:off x="2946158" y="5430069"/>
              <a:ext cx="874399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rPr>
                <a:t>Outboud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cxnSp>
          <p:nvCxnSpPr>
            <p:cNvPr id="245" name="直線矢印コネクタ 244">
              <a:extLst>
                <a:ext uri="{FF2B5EF4-FFF2-40B4-BE49-F238E27FC236}">
                  <a16:creationId xmlns:a16="http://schemas.microsoft.com/office/drawing/2014/main" id="{EA81E642-25AF-46EF-8FBF-85411EDA3636}"/>
                </a:ext>
              </a:extLst>
            </p:cNvPr>
            <p:cNvCxnSpPr>
              <a:cxnSpLocks/>
            </p:cNvCxnSpPr>
            <p:nvPr/>
          </p:nvCxnSpPr>
          <p:spPr>
            <a:xfrm>
              <a:off x="4358908" y="4739868"/>
              <a:ext cx="3432945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87" name="楕円 86">
              <a:extLst>
                <a:ext uri="{FF2B5EF4-FFF2-40B4-BE49-F238E27FC236}">
                  <a16:creationId xmlns:a16="http://schemas.microsoft.com/office/drawing/2014/main" id="{66317862-F428-4E62-A766-E6D9A06B8221}"/>
                </a:ext>
              </a:extLst>
            </p:cNvPr>
            <p:cNvSpPr/>
            <p:nvPr/>
          </p:nvSpPr>
          <p:spPr>
            <a:xfrm>
              <a:off x="4087602" y="4558534"/>
              <a:ext cx="271306" cy="271306"/>
            </a:xfrm>
            <a:prstGeom prst="ellipse">
              <a:avLst/>
            </a:prstGeom>
            <a:solidFill>
              <a:srgbClr val="FFFFFF"/>
            </a:solidFill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89" name="楕円 88">
              <a:extLst>
                <a:ext uri="{FF2B5EF4-FFF2-40B4-BE49-F238E27FC236}">
                  <a16:creationId xmlns:a16="http://schemas.microsoft.com/office/drawing/2014/main" id="{21F904C4-16A7-4A84-AB75-FE4C1EDFC333}"/>
                </a:ext>
              </a:extLst>
            </p:cNvPr>
            <p:cNvSpPr/>
            <p:nvPr/>
          </p:nvSpPr>
          <p:spPr>
            <a:xfrm>
              <a:off x="7791853" y="4558534"/>
              <a:ext cx="271306" cy="271306"/>
            </a:xfrm>
            <a:prstGeom prst="ellipse">
              <a:avLst/>
            </a:prstGeom>
            <a:solidFill>
              <a:srgbClr val="FFFFFF"/>
            </a:solidFill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257" name="矢印: 環状 256">
              <a:extLst>
                <a:ext uri="{FF2B5EF4-FFF2-40B4-BE49-F238E27FC236}">
                  <a16:creationId xmlns:a16="http://schemas.microsoft.com/office/drawing/2014/main" id="{34023228-2CB5-48C2-8812-87950FBC766A}"/>
                </a:ext>
              </a:extLst>
            </p:cNvPr>
            <p:cNvSpPr/>
            <p:nvPr/>
          </p:nvSpPr>
          <p:spPr>
            <a:xfrm rot="5400000">
              <a:off x="3312413" y="2978982"/>
              <a:ext cx="2151350" cy="1646695"/>
            </a:xfrm>
            <a:prstGeom prst="circularArrow">
              <a:avLst>
                <a:gd name="adj1" fmla="val 6414"/>
                <a:gd name="adj2" fmla="val 1142319"/>
                <a:gd name="adj3" fmla="val 20457673"/>
                <a:gd name="adj4" fmla="val 10800005"/>
                <a:gd name="adj5" fmla="val 10352"/>
              </a:avLst>
            </a:prstGeom>
            <a:solidFill>
              <a:srgbClr val="3154A3"/>
            </a:solidFill>
            <a:ln w="508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260" name="テキスト ボックス 259">
              <a:extLst>
                <a:ext uri="{FF2B5EF4-FFF2-40B4-BE49-F238E27FC236}">
                  <a16:creationId xmlns:a16="http://schemas.microsoft.com/office/drawing/2014/main" id="{E236B3B9-060B-4DD6-82E5-F9BD13A6891F}"/>
                </a:ext>
              </a:extLst>
            </p:cNvPr>
            <p:cNvSpPr txBox="1"/>
            <p:nvPr/>
          </p:nvSpPr>
          <p:spPr>
            <a:xfrm>
              <a:off x="5029795" y="3181201"/>
              <a:ext cx="1194692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rPr>
                <a:t>Transfer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EA0259D3-CFCC-4A91-9680-64AE6F066B3C}"/>
                </a:ext>
              </a:extLst>
            </p:cNvPr>
            <p:cNvGrpSpPr/>
            <p:nvPr/>
          </p:nvGrpSpPr>
          <p:grpSpPr>
            <a:xfrm>
              <a:off x="8347824" y="1832968"/>
              <a:ext cx="2295752" cy="2725566"/>
              <a:chOff x="8347824" y="1425575"/>
              <a:chExt cx="2295752" cy="2725566"/>
            </a:xfrm>
          </p:grpSpPr>
          <p:sp>
            <p:nvSpPr>
              <p:cNvPr id="35" name="テキスト ボックス 34">
                <a:extLst>
                  <a:ext uri="{FF2B5EF4-FFF2-40B4-BE49-F238E27FC236}">
                    <a16:creationId xmlns:a16="http://schemas.microsoft.com/office/drawing/2014/main" id="{58BE7AD8-5028-4852-B07E-07C951DA058C}"/>
                  </a:ext>
                </a:extLst>
              </p:cNvPr>
              <p:cNvSpPr txBox="1"/>
              <p:nvPr/>
            </p:nvSpPr>
            <p:spPr>
              <a:xfrm>
                <a:off x="8821746" y="1778184"/>
                <a:ext cx="1326885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Station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sp>
            <p:nvSpPr>
              <p:cNvPr id="36" name="テキスト ボックス 35">
                <a:extLst>
                  <a:ext uri="{FF2B5EF4-FFF2-40B4-BE49-F238E27FC236}">
                    <a16:creationId xmlns:a16="http://schemas.microsoft.com/office/drawing/2014/main" id="{9E945525-BBF8-4187-9DB3-7EE05164A8A5}"/>
                  </a:ext>
                </a:extLst>
              </p:cNvPr>
              <p:cNvSpPr txBox="1"/>
              <p:nvPr/>
            </p:nvSpPr>
            <p:spPr>
              <a:xfrm>
                <a:off x="8821747" y="2116693"/>
                <a:ext cx="1719253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Railway(Integrated)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sp>
            <p:nvSpPr>
              <p:cNvPr id="37" name="楕円 36">
                <a:extLst>
                  <a:ext uri="{FF2B5EF4-FFF2-40B4-BE49-F238E27FC236}">
                    <a16:creationId xmlns:a16="http://schemas.microsoft.com/office/drawing/2014/main" id="{42BD8A33-348A-4980-AB72-96A82F8F6DB7}"/>
                  </a:ext>
                </a:extLst>
              </p:cNvPr>
              <p:cNvSpPr/>
              <p:nvPr/>
            </p:nvSpPr>
            <p:spPr>
              <a:xfrm>
                <a:off x="8522875" y="1818788"/>
                <a:ext cx="203937" cy="20202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38" name="直線矢印コネクタ 37">
                <a:extLst>
                  <a:ext uri="{FF2B5EF4-FFF2-40B4-BE49-F238E27FC236}">
                    <a16:creationId xmlns:a16="http://schemas.microsoft.com/office/drawing/2014/main" id="{825B459E-D7C1-4C18-88DC-C8B862C5D90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47050" y="2270580"/>
                <a:ext cx="349152" cy="3"/>
              </a:xfrm>
              <a:prstGeom prst="straightConnector1">
                <a:avLst/>
              </a:prstGeom>
              <a:noFill/>
              <a:ln w="50800" cap="flat">
                <a:solidFill>
                  <a:schemeClr val="accent1"/>
                </a:solidFill>
                <a:prstDash val="solid"/>
                <a:miter lim="800000"/>
                <a:headEnd type="none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40" name="正方形/長方形 39">
                <a:extLst>
                  <a:ext uri="{FF2B5EF4-FFF2-40B4-BE49-F238E27FC236}">
                    <a16:creationId xmlns:a16="http://schemas.microsoft.com/office/drawing/2014/main" id="{AAB3B2D5-135C-4920-8B9C-339738D0272F}"/>
                  </a:ext>
                </a:extLst>
              </p:cNvPr>
              <p:cNvSpPr/>
              <p:nvPr/>
            </p:nvSpPr>
            <p:spPr>
              <a:xfrm>
                <a:off x="8347824" y="1425575"/>
                <a:ext cx="2295752" cy="2725566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87" name="楕円 186">
                <a:extLst>
                  <a:ext uri="{FF2B5EF4-FFF2-40B4-BE49-F238E27FC236}">
                    <a16:creationId xmlns:a16="http://schemas.microsoft.com/office/drawing/2014/main" id="{7AD4B435-9714-4689-979E-B7FE61A267BD}"/>
                  </a:ext>
                </a:extLst>
              </p:cNvPr>
              <p:cNvSpPr/>
              <p:nvPr/>
            </p:nvSpPr>
            <p:spPr>
              <a:xfrm>
                <a:off x="8522875" y="2515961"/>
                <a:ext cx="202195" cy="200300"/>
              </a:xfrm>
              <a:prstGeom prst="ellipse">
                <a:avLst/>
              </a:prstGeom>
              <a:noFill/>
              <a:ln w="76200" cap="flat">
                <a:solidFill>
                  <a:schemeClr val="accent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88" name="テキスト ボックス 187">
                <a:extLst>
                  <a:ext uri="{FF2B5EF4-FFF2-40B4-BE49-F238E27FC236}">
                    <a16:creationId xmlns:a16="http://schemas.microsoft.com/office/drawing/2014/main" id="{CC638ABB-0686-459A-A6FC-7D3D1AF5611C}"/>
                  </a:ext>
                </a:extLst>
              </p:cNvPr>
              <p:cNvSpPr txBox="1"/>
              <p:nvPr/>
            </p:nvSpPr>
            <p:spPr>
              <a:xfrm>
                <a:off x="8821746" y="2467699"/>
                <a:ext cx="1326885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Platform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cxnSp>
            <p:nvCxnSpPr>
              <p:cNvPr id="189" name="直線矢印コネクタ 188">
                <a:extLst>
                  <a:ext uri="{FF2B5EF4-FFF2-40B4-BE49-F238E27FC236}">
                    <a16:creationId xmlns:a16="http://schemas.microsoft.com/office/drawing/2014/main" id="{236A87A7-17F4-4BB0-8AA4-2904183422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47050" y="2943801"/>
                <a:ext cx="349152" cy="3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90" name="テキスト ボックス 189">
                <a:extLst>
                  <a:ext uri="{FF2B5EF4-FFF2-40B4-BE49-F238E27FC236}">
                    <a16:creationId xmlns:a16="http://schemas.microsoft.com/office/drawing/2014/main" id="{F99ED3DC-50DE-4A2D-81BA-68C129FB98B4}"/>
                  </a:ext>
                </a:extLst>
              </p:cNvPr>
              <p:cNvSpPr txBox="1"/>
              <p:nvPr/>
            </p:nvSpPr>
            <p:spPr>
              <a:xfrm>
                <a:off x="8821746" y="2790130"/>
                <a:ext cx="1326885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Railroad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cxnSp>
            <p:nvCxnSpPr>
              <p:cNvPr id="191" name="直線矢印コネクタ 190">
                <a:extLst>
                  <a:ext uri="{FF2B5EF4-FFF2-40B4-BE49-F238E27FC236}">
                    <a16:creationId xmlns:a16="http://schemas.microsoft.com/office/drawing/2014/main" id="{612789F1-A4EE-4825-B33D-43A8F7AC3BF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47050" y="3334016"/>
                <a:ext cx="349152" cy="3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lgDash"/>
                <a:miter lim="800000"/>
                <a:headEnd type="none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92" name="テキスト ボックス 191">
                <a:extLst>
                  <a:ext uri="{FF2B5EF4-FFF2-40B4-BE49-F238E27FC236}">
                    <a16:creationId xmlns:a16="http://schemas.microsoft.com/office/drawing/2014/main" id="{B97DDA31-4D26-46C9-87D4-1F39B05E3554}"/>
                  </a:ext>
                </a:extLst>
              </p:cNvPr>
              <p:cNvSpPr txBox="1"/>
              <p:nvPr/>
            </p:nvSpPr>
            <p:spPr>
              <a:xfrm>
                <a:off x="8821745" y="3076215"/>
                <a:ext cx="1821831" cy="52321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Relationship between station and platform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grpSp>
            <p:nvGrpSpPr>
              <p:cNvPr id="69" name="グループ化 68">
                <a:extLst>
                  <a:ext uri="{FF2B5EF4-FFF2-40B4-BE49-F238E27FC236}">
                    <a16:creationId xmlns:a16="http://schemas.microsoft.com/office/drawing/2014/main" id="{B0986319-6E3E-44C2-841F-61778F48B6D1}"/>
                  </a:ext>
                </a:extLst>
              </p:cNvPr>
              <p:cNvGrpSpPr/>
              <p:nvPr/>
            </p:nvGrpSpPr>
            <p:grpSpPr>
              <a:xfrm>
                <a:off x="8447050" y="3647405"/>
                <a:ext cx="415222" cy="391673"/>
                <a:chOff x="5555852" y="1117233"/>
                <a:chExt cx="1080295" cy="1019027"/>
              </a:xfrm>
            </p:grpSpPr>
            <p:sp>
              <p:nvSpPr>
                <p:cNvPr id="70" name="楕円 69">
                  <a:extLst>
                    <a:ext uri="{FF2B5EF4-FFF2-40B4-BE49-F238E27FC236}">
                      <a16:creationId xmlns:a16="http://schemas.microsoft.com/office/drawing/2014/main" id="{DE280D84-933B-47AB-BBB8-B1F4BE4574BD}"/>
                    </a:ext>
                  </a:extLst>
                </p:cNvPr>
                <p:cNvSpPr/>
                <p:nvPr/>
              </p:nvSpPr>
              <p:spPr>
                <a:xfrm>
                  <a:off x="5707193" y="1923703"/>
                  <a:ext cx="212557" cy="212557"/>
                </a:xfrm>
                <a:prstGeom prst="ellipse">
                  <a:avLst/>
                </a:prstGeom>
                <a:solidFill>
                  <a:schemeClr val="tx1"/>
                </a:solidFill>
                <a:ln w="12700" cap="flat">
                  <a:noFill/>
                  <a:prstDash val="solid"/>
                  <a:miter lim="8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hangingPunct="0"/>
                  <a:endParaRPr kumimoji="0" lang="ja-JP" altLang="en-US" sz="1400" b="1" dirty="0" err="1">
                    <a:solidFill>
                      <a:schemeClr val="bg1"/>
                    </a:solidFill>
                    <a:ea typeface="BIZ UDPゴシック" panose="020B0400000000000000" pitchFamily="50" charset="-128"/>
                    <a:cs typeface="Arial" panose="020B0604020202020204" pitchFamily="34" charset="0"/>
                    <a:sym typeface="游ゴシック"/>
                  </a:endParaRPr>
                </a:p>
              </p:txBody>
            </p:sp>
            <p:sp>
              <p:nvSpPr>
                <p:cNvPr id="71" name="楕円 70">
                  <a:extLst>
                    <a:ext uri="{FF2B5EF4-FFF2-40B4-BE49-F238E27FC236}">
                      <a16:creationId xmlns:a16="http://schemas.microsoft.com/office/drawing/2014/main" id="{830047B2-96B4-4505-8195-ABD7FB60D8E7}"/>
                    </a:ext>
                  </a:extLst>
                </p:cNvPr>
                <p:cNvSpPr/>
                <p:nvPr/>
              </p:nvSpPr>
              <p:spPr>
                <a:xfrm>
                  <a:off x="6171670" y="1923703"/>
                  <a:ext cx="212557" cy="212557"/>
                </a:xfrm>
                <a:prstGeom prst="ellipse">
                  <a:avLst/>
                </a:prstGeom>
                <a:solidFill>
                  <a:schemeClr val="tx1"/>
                </a:solidFill>
                <a:ln w="12700" cap="flat">
                  <a:noFill/>
                  <a:prstDash val="solid"/>
                  <a:miter lim="8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hangingPunct="0"/>
                  <a:endParaRPr kumimoji="0" lang="ja-JP" altLang="en-US" sz="1400" b="1" dirty="0" err="1">
                    <a:solidFill>
                      <a:schemeClr val="bg1"/>
                    </a:solidFill>
                    <a:ea typeface="BIZ UDPゴシック" panose="020B0400000000000000" pitchFamily="50" charset="-128"/>
                    <a:cs typeface="Arial" panose="020B0604020202020204" pitchFamily="34" charset="0"/>
                    <a:sym typeface="游ゴシック"/>
                  </a:endParaRPr>
                </a:p>
              </p:txBody>
            </p:sp>
            <p:sp>
              <p:nvSpPr>
                <p:cNvPr id="72" name="ひし形 71">
                  <a:extLst>
                    <a:ext uri="{FF2B5EF4-FFF2-40B4-BE49-F238E27FC236}">
                      <a16:creationId xmlns:a16="http://schemas.microsoft.com/office/drawing/2014/main" id="{C5531AEA-8D4C-4BB8-9254-3AD00CB012D0}"/>
                    </a:ext>
                  </a:extLst>
                </p:cNvPr>
                <p:cNvSpPr/>
                <p:nvPr/>
              </p:nvSpPr>
              <p:spPr>
                <a:xfrm>
                  <a:off x="5650422" y="1117233"/>
                  <a:ext cx="326096" cy="231564"/>
                </a:xfrm>
                <a:prstGeom prst="diamond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hangingPunct="0"/>
                  <a:endParaRPr kumimoji="0" lang="ja-JP" altLang="en-US" sz="1400" b="1" dirty="0" err="1">
                    <a:solidFill>
                      <a:schemeClr val="bg1"/>
                    </a:solidFill>
                    <a:ea typeface="BIZ UDPゴシック" panose="020B0400000000000000" pitchFamily="50" charset="-128"/>
                    <a:cs typeface="Arial" panose="020B0604020202020204" pitchFamily="34" charset="0"/>
                    <a:sym typeface="游ゴシック"/>
                  </a:endParaRPr>
                </a:p>
              </p:txBody>
            </p:sp>
            <p:sp>
              <p:nvSpPr>
                <p:cNvPr id="75" name="フローチャート: 手操作入力 74">
                  <a:extLst>
                    <a:ext uri="{FF2B5EF4-FFF2-40B4-BE49-F238E27FC236}">
                      <a16:creationId xmlns:a16="http://schemas.microsoft.com/office/drawing/2014/main" id="{0AB9E821-99DC-4E38-ADAB-635F3C76C789}"/>
                    </a:ext>
                  </a:extLst>
                </p:cNvPr>
                <p:cNvSpPr/>
                <p:nvPr/>
              </p:nvSpPr>
              <p:spPr>
                <a:xfrm rot="5400000">
                  <a:off x="5801884" y="1100880"/>
                  <a:ext cx="588231" cy="1080295"/>
                </a:xfrm>
                <a:prstGeom prst="flowChartManualInpu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hangingPunct="0"/>
                  <a:endParaRPr kumimoji="0" lang="ja-JP" altLang="en-US" sz="1400" b="1" dirty="0" err="1">
                    <a:solidFill>
                      <a:schemeClr val="bg1"/>
                    </a:solidFill>
                    <a:ea typeface="BIZ UDPゴシック" panose="020B0400000000000000" pitchFamily="50" charset="-128"/>
                    <a:cs typeface="Arial" panose="020B0604020202020204" pitchFamily="34" charset="0"/>
                    <a:sym typeface="游ゴシック"/>
                  </a:endParaRPr>
                </a:p>
              </p:txBody>
            </p:sp>
          </p:grpSp>
          <p:sp>
            <p:nvSpPr>
              <p:cNvPr id="78" name="テキスト ボックス 77">
                <a:extLst>
                  <a:ext uri="{FF2B5EF4-FFF2-40B4-BE49-F238E27FC236}">
                    <a16:creationId xmlns:a16="http://schemas.microsoft.com/office/drawing/2014/main" id="{36785BAF-F5A5-41AF-B9BD-131FEC16EEBC}"/>
                  </a:ext>
                </a:extLst>
              </p:cNvPr>
              <p:cNvSpPr txBox="1"/>
              <p:nvPr/>
            </p:nvSpPr>
            <p:spPr>
              <a:xfrm>
                <a:off x="8821745" y="3685951"/>
                <a:ext cx="1530029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Train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sp>
            <p:nvSpPr>
              <p:cNvPr id="79" name="テキスト ボックス 78">
                <a:extLst>
                  <a:ext uri="{FF2B5EF4-FFF2-40B4-BE49-F238E27FC236}">
                    <a16:creationId xmlns:a16="http://schemas.microsoft.com/office/drawing/2014/main" id="{0F8F4162-DA5C-4389-BD3F-1EC5CEDDDEF1}"/>
                  </a:ext>
                </a:extLst>
              </p:cNvPr>
              <p:cNvSpPr txBox="1"/>
              <p:nvPr/>
            </p:nvSpPr>
            <p:spPr>
              <a:xfrm>
                <a:off x="8447050" y="1451679"/>
                <a:ext cx="98018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Legend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585983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 1"/>
          <p:cNvSpPr>
            <a:spLocks noGrp="1"/>
          </p:cNvSpPr>
          <p:nvPr>
            <p:ph type="sldNum" sz="quarter" idx="2"/>
          </p:nvPr>
        </p:nvSpPr>
        <p:spPr>
          <a:xfrm>
            <a:off x="12035549" y="6632696"/>
            <a:ext cx="156451" cy="230832"/>
          </a:xfrm>
        </p:spPr>
        <p:txBody>
          <a:bodyPr/>
          <a:lstStyle/>
          <a:p>
            <a:fld id="{86CB4B4D-7CA3-9044-876B-883B54F8677D}" type="slidenum">
              <a:rPr lang="en-US" altLang="ja-JP" smtClean="0">
                <a:latin typeface="Helvetica" panose="020B0604020202020204" pitchFamily="34" charset="0"/>
                <a:ea typeface="BIZ UDPゴシック" panose="020B0400000000000000" pitchFamily="50" charset="-128"/>
              </a:rPr>
              <a:pPr/>
              <a:t>3</a:t>
            </a:fld>
            <a:endParaRPr lang="en-US" altLang="ja-JP">
              <a:latin typeface="Helvetica" panose="020B0604020202020204" pitchFamily="34" charset="0"/>
              <a:ea typeface="BIZ UDPゴシック" panose="020B0400000000000000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latin typeface="Helvetica" panose="020B0604020202020204" pitchFamily="34" charset="0"/>
              <a:ea typeface="BIZ UDPゴシック" panose="020B0400000000000000" pitchFamily="50" charset="-128"/>
            </a:endParaRP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kumimoji="1" lang="ja-JP" altLang="en-US">
              <a:latin typeface="Helvetica" panose="020B0604020202020204" pitchFamily="34" charset="0"/>
              <a:ea typeface="BIZ UDPゴシック" panose="020B0400000000000000" pitchFamily="50" charset="-128"/>
            </a:endParaRPr>
          </a:p>
        </p:txBody>
      </p:sp>
      <p:grpSp>
        <p:nvGrpSpPr>
          <p:cNvPr id="51" name="グループ化 50">
            <a:extLst>
              <a:ext uri="{FF2B5EF4-FFF2-40B4-BE49-F238E27FC236}">
                <a16:creationId xmlns:a16="http://schemas.microsoft.com/office/drawing/2014/main" id="{4BFDBF3E-8F64-41A3-A0EF-EE801615DD88}"/>
              </a:ext>
            </a:extLst>
          </p:cNvPr>
          <p:cNvGrpSpPr/>
          <p:nvPr/>
        </p:nvGrpSpPr>
        <p:grpSpPr>
          <a:xfrm>
            <a:off x="1104701" y="1719214"/>
            <a:ext cx="9408690" cy="4533948"/>
            <a:chOff x="1104701" y="1719214"/>
            <a:chExt cx="9408690" cy="4533948"/>
          </a:xfrm>
        </p:grpSpPr>
        <p:cxnSp>
          <p:nvCxnSpPr>
            <p:cNvPr id="19" name="直線コネクタ 18"/>
            <p:cNvCxnSpPr/>
            <p:nvPr/>
          </p:nvCxnSpPr>
          <p:spPr>
            <a:xfrm>
              <a:off x="3217479" y="1892545"/>
              <a:ext cx="0" cy="2805495"/>
            </a:xfrm>
            <a:prstGeom prst="line">
              <a:avLst/>
            </a:prstGeom>
            <a:noFill/>
            <a:ln w="508000" cap="flat">
              <a:solidFill>
                <a:schemeClr val="tx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1" name="直線コネクタ 20"/>
            <p:cNvCxnSpPr>
              <a:cxnSpLocks/>
            </p:cNvCxnSpPr>
            <p:nvPr/>
          </p:nvCxnSpPr>
          <p:spPr>
            <a:xfrm flipH="1">
              <a:off x="1128801" y="4941563"/>
              <a:ext cx="4471899" cy="0"/>
            </a:xfrm>
            <a:prstGeom prst="line">
              <a:avLst/>
            </a:prstGeom>
            <a:noFill/>
            <a:ln w="508000" cap="flat">
              <a:solidFill>
                <a:schemeClr val="tx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40" name="グループ化 39"/>
            <p:cNvGrpSpPr/>
            <p:nvPr/>
          </p:nvGrpSpPr>
          <p:grpSpPr>
            <a:xfrm>
              <a:off x="3603341" y="4061170"/>
              <a:ext cx="180783" cy="575982"/>
              <a:chOff x="5842000" y="1828800"/>
              <a:chExt cx="273050" cy="869950"/>
            </a:xfrm>
          </p:grpSpPr>
          <p:sp>
            <p:nvSpPr>
              <p:cNvPr id="30" name="正方形/長方形 29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29" name="円/楕円 28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32" name="直線コネクタ 31"/>
              <p:cNvCxnSpPr>
                <a:stCxn id="29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36" name="直線コネクタ 35"/>
              <p:cNvCxnSpPr>
                <a:stCxn id="30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39" name="台形 38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41" name="グループ化 40"/>
            <p:cNvGrpSpPr/>
            <p:nvPr/>
          </p:nvGrpSpPr>
          <p:grpSpPr>
            <a:xfrm>
              <a:off x="2263906" y="5221275"/>
              <a:ext cx="180783" cy="575982"/>
              <a:chOff x="5842000" y="1828800"/>
              <a:chExt cx="273050" cy="869950"/>
            </a:xfrm>
          </p:grpSpPr>
          <p:sp>
            <p:nvSpPr>
              <p:cNvPr id="42" name="正方形/長方形 41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43" name="円/楕円 42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44" name="直線コネクタ 43"/>
              <p:cNvCxnSpPr>
                <a:stCxn id="43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45" name="直線コネクタ 44"/>
              <p:cNvCxnSpPr>
                <a:stCxn id="42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46" name="台形 45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59" name="グループ化 58"/>
            <p:cNvGrpSpPr/>
            <p:nvPr/>
          </p:nvGrpSpPr>
          <p:grpSpPr>
            <a:xfrm>
              <a:off x="2658341" y="3839301"/>
              <a:ext cx="180783" cy="575982"/>
              <a:chOff x="5842000" y="1828800"/>
              <a:chExt cx="273050" cy="869950"/>
            </a:xfrm>
          </p:grpSpPr>
          <p:sp>
            <p:nvSpPr>
              <p:cNvPr id="60" name="正方形/長方形 59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61" name="円/楕円 60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62" name="直線コネクタ 61"/>
              <p:cNvCxnSpPr>
                <a:stCxn id="61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63" name="直線コネクタ 62"/>
              <p:cNvCxnSpPr>
                <a:stCxn id="60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64" name="台形 63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cxnSp>
          <p:nvCxnSpPr>
            <p:cNvPr id="68" name="直線コネクタ 67"/>
            <p:cNvCxnSpPr/>
            <p:nvPr/>
          </p:nvCxnSpPr>
          <p:spPr>
            <a:xfrm>
              <a:off x="3701949" y="4941563"/>
              <a:ext cx="0" cy="240031"/>
            </a:xfrm>
            <a:prstGeom prst="line">
              <a:avLst/>
            </a:prstGeom>
            <a:noFill/>
            <a:ln w="635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0" name="直線コネクタ 69"/>
            <p:cNvCxnSpPr>
              <a:cxnSpLocks/>
            </p:cNvCxnSpPr>
            <p:nvPr/>
          </p:nvCxnSpPr>
          <p:spPr>
            <a:xfrm>
              <a:off x="3697841" y="4941563"/>
              <a:ext cx="1902859" cy="0"/>
            </a:xfrm>
            <a:prstGeom prst="line">
              <a:avLst/>
            </a:pr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2" name="直線コネクタ 71"/>
            <p:cNvCxnSpPr>
              <a:cxnSpLocks/>
            </p:cNvCxnSpPr>
            <p:nvPr/>
          </p:nvCxnSpPr>
          <p:spPr>
            <a:xfrm>
              <a:off x="1128801" y="4949780"/>
              <a:ext cx="1611714" cy="0"/>
            </a:xfrm>
            <a:prstGeom prst="line">
              <a:avLst/>
            </a:pr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8" name="直線コネクタ 77"/>
            <p:cNvCxnSpPr/>
            <p:nvPr/>
          </p:nvCxnSpPr>
          <p:spPr>
            <a:xfrm>
              <a:off x="2740515" y="4724394"/>
              <a:ext cx="0" cy="228841"/>
            </a:xfrm>
            <a:prstGeom prst="line">
              <a:avLst/>
            </a:prstGeom>
            <a:noFill/>
            <a:ln w="635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92" name="直線コネクタ 91"/>
            <p:cNvCxnSpPr/>
            <p:nvPr/>
          </p:nvCxnSpPr>
          <p:spPr>
            <a:xfrm>
              <a:off x="3217123" y="4485133"/>
              <a:ext cx="240452" cy="0"/>
            </a:xfrm>
            <a:prstGeom prst="line">
              <a:avLst/>
            </a:prstGeom>
            <a:noFill/>
            <a:ln w="635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93" name="直線コネクタ 92"/>
            <p:cNvCxnSpPr/>
            <p:nvPr/>
          </p:nvCxnSpPr>
          <p:spPr>
            <a:xfrm flipH="1" flipV="1">
              <a:off x="3225341" y="1892549"/>
              <a:ext cx="1" cy="259669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103" name="グループ化 102"/>
            <p:cNvGrpSpPr/>
            <p:nvPr/>
          </p:nvGrpSpPr>
          <p:grpSpPr>
            <a:xfrm>
              <a:off x="3603341" y="2015040"/>
              <a:ext cx="180783" cy="575982"/>
              <a:chOff x="5842000" y="1828800"/>
              <a:chExt cx="273050" cy="869950"/>
            </a:xfrm>
          </p:grpSpPr>
          <p:sp>
            <p:nvSpPr>
              <p:cNvPr id="104" name="正方形/長方形 103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05" name="円/楕円 104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06" name="直線コネクタ 105"/>
              <p:cNvCxnSpPr>
                <a:stCxn id="105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07" name="直線コネクタ 106"/>
              <p:cNvCxnSpPr>
                <a:stCxn id="104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08" name="台形 107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09" name="グループ化 108"/>
            <p:cNvGrpSpPr/>
            <p:nvPr/>
          </p:nvGrpSpPr>
          <p:grpSpPr>
            <a:xfrm>
              <a:off x="2666558" y="1719214"/>
              <a:ext cx="180783" cy="575982"/>
              <a:chOff x="5842000" y="1828800"/>
              <a:chExt cx="273050" cy="869950"/>
            </a:xfrm>
          </p:grpSpPr>
          <p:sp>
            <p:nvSpPr>
              <p:cNvPr id="110" name="正方形/長方形 109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11" name="円/楕円 110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12" name="直線コネクタ 111"/>
              <p:cNvCxnSpPr>
                <a:stCxn id="111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13" name="直線コネクタ 112"/>
              <p:cNvCxnSpPr>
                <a:stCxn id="110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14" name="台形 113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16" name="グループ化 249">
              <a:extLst>
                <a:ext uri="{FF2B5EF4-FFF2-40B4-BE49-F238E27FC236}">
                  <a16:creationId xmlns:a16="http://schemas.microsoft.com/office/drawing/2014/main" id="{E04335C6-B852-47A5-9121-74D2C511822F}"/>
                </a:ext>
              </a:extLst>
            </p:cNvPr>
            <p:cNvGrpSpPr/>
            <p:nvPr/>
          </p:nvGrpSpPr>
          <p:grpSpPr>
            <a:xfrm>
              <a:off x="9059968" y="2990929"/>
              <a:ext cx="1453423" cy="777240"/>
              <a:chOff x="9368763" y="4640580"/>
              <a:chExt cx="1453423" cy="777240"/>
            </a:xfrm>
          </p:grpSpPr>
          <p:sp>
            <p:nvSpPr>
              <p:cNvPr id="147" name="テキスト ボックス 146">
                <a:extLst>
                  <a:ext uri="{FF2B5EF4-FFF2-40B4-BE49-F238E27FC236}">
                    <a16:creationId xmlns:a16="http://schemas.microsoft.com/office/drawing/2014/main" id="{A7B071A1-85EE-48B3-9DBA-069C25186A96}"/>
                  </a:ext>
                </a:extLst>
              </p:cNvPr>
              <p:cNvSpPr txBox="1"/>
              <p:nvPr/>
            </p:nvSpPr>
            <p:spPr>
              <a:xfrm>
                <a:off x="9877784" y="4728674"/>
                <a:ext cx="85117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 err="1">
                    <a:solidFill>
                      <a:srgbClr val="221714"/>
                    </a:solidFill>
                    <a:latin typeface="Helvetica" panose="020B0604020202020204" pitchFamily="34" charset="0"/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Busstop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sp>
            <p:nvSpPr>
              <p:cNvPr id="148" name="テキスト ボックス 147">
                <a:extLst>
                  <a:ext uri="{FF2B5EF4-FFF2-40B4-BE49-F238E27FC236}">
                    <a16:creationId xmlns:a16="http://schemas.microsoft.com/office/drawing/2014/main" id="{017320DE-8174-43F7-9AB6-0008C1D44D64}"/>
                  </a:ext>
                </a:extLst>
              </p:cNvPr>
              <p:cNvSpPr txBox="1"/>
              <p:nvPr/>
            </p:nvSpPr>
            <p:spPr>
              <a:xfrm>
                <a:off x="9877784" y="5008685"/>
                <a:ext cx="85117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 err="1">
                    <a:solidFill>
                      <a:srgbClr val="221714"/>
                    </a:solidFill>
                    <a:latin typeface="Helvetica" panose="020B0604020202020204" pitchFamily="34" charset="0"/>
                    <a:ea typeface="BIZ UDPゴシック" panose="020B0400000000000000" pitchFamily="50" charset="-128"/>
                    <a:cs typeface="游ゴシック"/>
                    <a:sym typeface="游ゴシック"/>
                  </a:rPr>
                  <a:t>Busroute</a:t>
                </a:r>
                <a:endParaRPr kumimoji="0" lang="ja-JP" altLang="en-US" sz="1400" b="0" i="0" u="none" strike="noStrike" cap="none" spc="0" normalizeH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endParaRPr>
              </a:p>
            </p:txBody>
          </p:sp>
          <p:sp>
            <p:nvSpPr>
              <p:cNvPr id="149" name="楕円 144">
                <a:extLst>
                  <a:ext uri="{FF2B5EF4-FFF2-40B4-BE49-F238E27FC236}">
                    <a16:creationId xmlns:a16="http://schemas.microsoft.com/office/drawing/2014/main" id="{68DF09A7-F369-4E02-B868-2F273BEA6538}"/>
                  </a:ext>
                </a:extLst>
              </p:cNvPr>
              <p:cNvSpPr/>
              <p:nvPr/>
            </p:nvSpPr>
            <p:spPr>
              <a:xfrm>
                <a:off x="9531904" y="4769278"/>
                <a:ext cx="230293" cy="230293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50" name="直線矢印コネクタ 149">
                <a:extLst>
                  <a:ext uri="{FF2B5EF4-FFF2-40B4-BE49-F238E27FC236}">
                    <a16:creationId xmlns:a16="http://schemas.microsoft.com/office/drawing/2014/main" id="{30BA5BF8-1D3C-47C1-8652-E5603B1225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494617" y="5193351"/>
                <a:ext cx="267580" cy="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51" name="正方形/長方形 150">
                <a:extLst>
                  <a:ext uri="{FF2B5EF4-FFF2-40B4-BE49-F238E27FC236}">
                    <a16:creationId xmlns:a16="http://schemas.microsoft.com/office/drawing/2014/main" id="{29B3B921-B951-48E9-92FA-2469A708A1E1}"/>
                  </a:ext>
                </a:extLst>
              </p:cNvPr>
              <p:cNvSpPr/>
              <p:nvPr/>
            </p:nvSpPr>
            <p:spPr>
              <a:xfrm>
                <a:off x="9368763" y="4640580"/>
                <a:ext cx="1453423" cy="777240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sp>
          <p:nvSpPr>
            <p:cNvPr id="122" name="楕円 11">
              <a:extLst>
                <a:ext uri="{FF2B5EF4-FFF2-40B4-BE49-F238E27FC236}">
                  <a16:creationId xmlns:a16="http://schemas.microsoft.com/office/drawing/2014/main" id="{EEC5212D-56DB-4D77-AA7D-DC13E946A1F8}"/>
                </a:ext>
              </a:extLst>
            </p:cNvPr>
            <p:cNvSpPr/>
            <p:nvPr/>
          </p:nvSpPr>
          <p:spPr>
            <a:xfrm>
              <a:off x="7971301" y="4719916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24" name="楕円 14">
              <a:extLst>
                <a:ext uri="{FF2B5EF4-FFF2-40B4-BE49-F238E27FC236}">
                  <a16:creationId xmlns:a16="http://schemas.microsoft.com/office/drawing/2014/main" id="{2AC91B8B-776C-4DA2-A782-2CFF9D932473}"/>
                </a:ext>
              </a:extLst>
            </p:cNvPr>
            <p:cNvSpPr/>
            <p:nvPr/>
          </p:nvSpPr>
          <p:spPr>
            <a:xfrm>
              <a:off x="7971301" y="2633600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125" name="直線矢印コネクタ 124">
              <a:extLst>
                <a:ext uri="{FF2B5EF4-FFF2-40B4-BE49-F238E27FC236}">
                  <a16:creationId xmlns:a16="http://schemas.microsoft.com/office/drawing/2014/main" id="{CAD2835B-A41B-4850-93BA-2228D6356A88}"/>
                </a:ext>
              </a:extLst>
            </p:cNvPr>
            <p:cNvCxnSpPr>
              <a:cxnSpLocks/>
              <a:stCxn id="124" idx="3"/>
              <a:endCxn id="122" idx="1"/>
            </p:cNvCxnSpPr>
            <p:nvPr/>
          </p:nvCxnSpPr>
          <p:spPr>
            <a:xfrm>
              <a:off x="8011033" y="2865174"/>
              <a:ext cx="0" cy="1894474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9" name="直線矢印コネクタ 128">
              <a:extLst>
                <a:ext uri="{FF2B5EF4-FFF2-40B4-BE49-F238E27FC236}">
                  <a16:creationId xmlns:a16="http://schemas.microsoft.com/office/drawing/2014/main" id="{5664D160-EC85-406E-B83F-ED7AD2F48433}"/>
                </a:ext>
              </a:extLst>
            </p:cNvPr>
            <p:cNvCxnSpPr>
              <a:cxnSpLocks/>
              <a:stCxn id="122" idx="0"/>
              <a:endCxn id="124" idx="4"/>
            </p:cNvCxnSpPr>
            <p:nvPr/>
          </p:nvCxnSpPr>
          <p:spPr>
            <a:xfrm flipV="1">
              <a:off x="8106954" y="2904906"/>
              <a:ext cx="0" cy="181501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1" name="直線矢印コネクタ 130">
              <a:extLst>
                <a:ext uri="{FF2B5EF4-FFF2-40B4-BE49-F238E27FC236}">
                  <a16:creationId xmlns:a16="http://schemas.microsoft.com/office/drawing/2014/main" id="{28791C4C-DC2C-4AB4-BD5D-C449CE41166C}"/>
                </a:ext>
              </a:extLst>
            </p:cNvPr>
            <p:cNvCxnSpPr>
              <a:cxnSpLocks/>
              <a:endCxn id="122" idx="3"/>
            </p:cNvCxnSpPr>
            <p:nvPr/>
          </p:nvCxnSpPr>
          <p:spPr>
            <a:xfrm>
              <a:off x="6972300" y="4951490"/>
              <a:ext cx="1038733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2" name="直線矢印コネクタ 131">
              <a:extLst>
                <a:ext uri="{FF2B5EF4-FFF2-40B4-BE49-F238E27FC236}">
                  <a16:creationId xmlns:a16="http://schemas.microsoft.com/office/drawing/2014/main" id="{FB078CFC-FD10-4A47-A298-7425F1887F0A}"/>
                </a:ext>
              </a:extLst>
            </p:cNvPr>
            <p:cNvCxnSpPr>
              <a:cxnSpLocks/>
              <a:stCxn id="122" idx="2"/>
            </p:cNvCxnSpPr>
            <p:nvPr/>
          </p:nvCxnSpPr>
          <p:spPr>
            <a:xfrm flipH="1">
              <a:off x="6981825" y="4855569"/>
              <a:ext cx="989476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73" name="直線矢印コネクタ 172">
              <a:extLst>
                <a:ext uri="{FF2B5EF4-FFF2-40B4-BE49-F238E27FC236}">
                  <a16:creationId xmlns:a16="http://schemas.microsoft.com/office/drawing/2014/main" id="{28791C4C-DC2C-4AB4-BD5D-C449CE41166C}"/>
                </a:ext>
              </a:extLst>
            </p:cNvPr>
            <p:cNvCxnSpPr>
              <a:cxnSpLocks/>
              <a:stCxn id="122" idx="5"/>
            </p:cNvCxnSpPr>
            <p:nvPr/>
          </p:nvCxnSpPr>
          <p:spPr>
            <a:xfrm>
              <a:off x="8202875" y="4951490"/>
              <a:ext cx="1150675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74" name="直線矢印コネクタ 173">
              <a:extLst>
                <a:ext uri="{FF2B5EF4-FFF2-40B4-BE49-F238E27FC236}">
                  <a16:creationId xmlns:a16="http://schemas.microsoft.com/office/drawing/2014/main" id="{FB078CFC-FD10-4A47-A298-7425F1887F0A}"/>
                </a:ext>
              </a:extLst>
            </p:cNvPr>
            <p:cNvCxnSpPr>
              <a:cxnSpLocks/>
              <a:endCxn id="122" idx="6"/>
            </p:cNvCxnSpPr>
            <p:nvPr/>
          </p:nvCxnSpPr>
          <p:spPr>
            <a:xfrm flipH="1">
              <a:off x="8242607" y="4855569"/>
              <a:ext cx="1053793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65" name="グループ化 64">
              <a:extLst>
                <a:ext uri="{FF2B5EF4-FFF2-40B4-BE49-F238E27FC236}">
                  <a16:creationId xmlns:a16="http://schemas.microsoft.com/office/drawing/2014/main" id="{14C0D68E-B3E6-4443-B236-C871D756091D}"/>
                </a:ext>
              </a:extLst>
            </p:cNvPr>
            <p:cNvGrpSpPr/>
            <p:nvPr/>
          </p:nvGrpSpPr>
          <p:grpSpPr>
            <a:xfrm>
              <a:off x="1104701" y="5221275"/>
              <a:ext cx="180783" cy="575982"/>
              <a:chOff x="5842000" y="1828800"/>
              <a:chExt cx="273050" cy="869950"/>
            </a:xfrm>
          </p:grpSpPr>
          <p:sp>
            <p:nvSpPr>
              <p:cNvPr id="66" name="正方形/長方形 65">
                <a:extLst>
                  <a:ext uri="{FF2B5EF4-FFF2-40B4-BE49-F238E27FC236}">
                    <a16:creationId xmlns:a16="http://schemas.microsoft.com/office/drawing/2014/main" id="{D6B52935-1EB7-4251-9864-33953196802A}"/>
                  </a:ext>
                </a:extLst>
              </p:cNvPr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67" name="円/楕円 42">
                <a:extLst>
                  <a:ext uri="{FF2B5EF4-FFF2-40B4-BE49-F238E27FC236}">
                    <a16:creationId xmlns:a16="http://schemas.microsoft.com/office/drawing/2014/main" id="{899D10B8-65F4-4651-9B9C-9D19AB052DBA}"/>
                  </a:ext>
                </a:extLst>
              </p:cNvPr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69" name="直線コネクタ 68">
                <a:extLst>
                  <a:ext uri="{FF2B5EF4-FFF2-40B4-BE49-F238E27FC236}">
                    <a16:creationId xmlns:a16="http://schemas.microsoft.com/office/drawing/2014/main" id="{425D346B-6F19-4EBE-9DBF-F7135E0C84AB}"/>
                  </a:ext>
                </a:extLst>
              </p:cNvPr>
              <p:cNvCxnSpPr>
                <a:stCxn id="67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71" name="直線コネクタ 70">
                <a:extLst>
                  <a:ext uri="{FF2B5EF4-FFF2-40B4-BE49-F238E27FC236}">
                    <a16:creationId xmlns:a16="http://schemas.microsoft.com/office/drawing/2014/main" id="{10AD8878-1D82-4515-B057-CF4427B77916}"/>
                  </a:ext>
                </a:extLst>
              </p:cNvPr>
              <p:cNvCxnSpPr>
                <a:stCxn id="66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73" name="台形 72">
                <a:extLst>
                  <a:ext uri="{FF2B5EF4-FFF2-40B4-BE49-F238E27FC236}">
                    <a16:creationId xmlns:a16="http://schemas.microsoft.com/office/drawing/2014/main" id="{A372C698-7EB0-451C-9604-AB922FB2D93C}"/>
                  </a:ext>
                </a:extLst>
              </p:cNvPr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74" name="グループ化 73">
              <a:extLst>
                <a:ext uri="{FF2B5EF4-FFF2-40B4-BE49-F238E27FC236}">
                  <a16:creationId xmlns:a16="http://schemas.microsoft.com/office/drawing/2014/main" id="{4E2012DF-AB73-4BC0-BF38-1A190FF3F1D1}"/>
                </a:ext>
              </a:extLst>
            </p:cNvPr>
            <p:cNvGrpSpPr/>
            <p:nvPr/>
          </p:nvGrpSpPr>
          <p:grpSpPr>
            <a:xfrm>
              <a:off x="1419954" y="4088359"/>
              <a:ext cx="180783" cy="575982"/>
              <a:chOff x="5842000" y="1828800"/>
              <a:chExt cx="273050" cy="869950"/>
            </a:xfrm>
          </p:grpSpPr>
          <p:sp>
            <p:nvSpPr>
              <p:cNvPr id="75" name="正方形/長方形 74">
                <a:extLst>
                  <a:ext uri="{FF2B5EF4-FFF2-40B4-BE49-F238E27FC236}">
                    <a16:creationId xmlns:a16="http://schemas.microsoft.com/office/drawing/2014/main" id="{1C900C32-12D3-4A77-B2A2-372F87D8E9E9}"/>
                  </a:ext>
                </a:extLst>
              </p:cNvPr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76" name="円/楕円 60">
                <a:extLst>
                  <a:ext uri="{FF2B5EF4-FFF2-40B4-BE49-F238E27FC236}">
                    <a16:creationId xmlns:a16="http://schemas.microsoft.com/office/drawing/2014/main" id="{4E0C33DF-C528-48B0-8936-4C9046E3032E}"/>
                  </a:ext>
                </a:extLst>
              </p:cNvPr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77" name="直線コネクタ 76">
                <a:extLst>
                  <a:ext uri="{FF2B5EF4-FFF2-40B4-BE49-F238E27FC236}">
                    <a16:creationId xmlns:a16="http://schemas.microsoft.com/office/drawing/2014/main" id="{1EDE1859-D52B-48B0-A4BD-3BFF82ABD7C4}"/>
                  </a:ext>
                </a:extLst>
              </p:cNvPr>
              <p:cNvCxnSpPr>
                <a:stCxn id="76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79" name="直線コネクタ 78">
                <a:extLst>
                  <a:ext uri="{FF2B5EF4-FFF2-40B4-BE49-F238E27FC236}">
                    <a16:creationId xmlns:a16="http://schemas.microsoft.com/office/drawing/2014/main" id="{2DEBE806-AEC4-4CB7-A011-518D947F4493}"/>
                  </a:ext>
                </a:extLst>
              </p:cNvPr>
              <p:cNvCxnSpPr>
                <a:stCxn id="75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80" name="台形 79">
                <a:extLst>
                  <a:ext uri="{FF2B5EF4-FFF2-40B4-BE49-F238E27FC236}">
                    <a16:creationId xmlns:a16="http://schemas.microsoft.com/office/drawing/2014/main" id="{89B7F84A-0582-4F02-A171-BEDF113ECA68}"/>
                  </a:ext>
                </a:extLst>
              </p:cNvPr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81" name="グループ化 80">
              <a:extLst>
                <a:ext uri="{FF2B5EF4-FFF2-40B4-BE49-F238E27FC236}">
                  <a16:creationId xmlns:a16="http://schemas.microsoft.com/office/drawing/2014/main" id="{34EB6C02-9410-4047-ABA4-6335BAE8E83F}"/>
                </a:ext>
              </a:extLst>
            </p:cNvPr>
            <p:cNvGrpSpPr/>
            <p:nvPr/>
          </p:nvGrpSpPr>
          <p:grpSpPr>
            <a:xfrm>
              <a:off x="5221587" y="4088359"/>
              <a:ext cx="180783" cy="575982"/>
              <a:chOff x="5842000" y="1828800"/>
              <a:chExt cx="273050" cy="869950"/>
            </a:xfrm>
          </p:grpSpPr>
          <p:sp>
            <p:nvSpPr>
              <p:cNvPr id="82" name="正方形/長方形 81">
                <a:extLst>
                  <a:ext uri="{FF2B5EF4-FFF2-40B4-BE49-F238E27FC236}">
                    <a16:creationId xmlns:a16="http://schemas.microsoft.com/office/drawing/2014/main" id="{F08E6758-F458-4F90-A6B1-B84D80AD2D67}"/>
                  </a:ext>
                </a:extLst>
              </p:cNvPr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83" name="円/楕円 60">
                <a:extLst>
                  <a:ext uri="{FF2B5EF4-FFF2-40B4-BE49-F238E27FC236}">
                    <a16:creationId xmlns:a16="http://schemas.microsoft.com/office/drawing/2014/main" id="{4873F208-4EEF-4025-AE07-9E7AAD9D8037}"/>
                  </a:ext>
                </a:extLst>
              </p:cNvPr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84" name="直線コネクタ 83">
                <a:extLst>
                  <a:ext uri="{FF2B5EF4-FFF2-40B4-BE49-F238E27FC236}">
                    <a16:creationId xmlns:a16="http://schemas.microsoft.com/office/drawing/2014/main" id="{E5EA5D21-674E-4FE5-A12E-76091557531C}"/>
                  </a:ext>
                </a:extLst>
              </p:cNvPr>
              <p:cNvCxnSpPr>
                <a:stCxn id="83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85" name="直線コネクタ 84">
                <a:extLst>
                  <a:ext uri="{FF2B5EF4-FFF2-40B4-BE49-F238E27FC236}">
                    <a16:creationId xmlns:a16="http://schemas.microsoft.com/office/drawing/2014/main" id="{0C46D4DB-9C24-4FF0-AC23-D7BF91641FB7}"/>
                  </a:ext>
                </a:extLst>
              </p:cNvPr>
              <p:cNvCxnSpPr>
                <a:stCxn id="82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86" name="台形 85">
                <a:extLst>
                  <a:ext uri="{FF2B5EF4-FFF2-40B4-BE49-F238E27FC236}">
                    <a16:creationId xmlns:a16="http://schemas.microsoft.com/office/drawing/2014/main" id="{E243101E-456A-4B86-A29B-77998198AC32}"/>
                  </a:ext>
                </a:extLst>
              </p:cNvPr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87" name="グループ化 86">
              <a:extLst>
                <a:ext uri="{FF2B5EF4-FFF2-40B4-BE49-F238E27FC236}">
                  <a16:creationId xmlns:a16="http://schemas.microsoft.com/office/drawing/2014/main" id="{B92DA028-8878-4143-BD61-F4395054C447}"/>
                </a:ext>
              </a:extLst>
            </p:cNvPr>
            <p:cNvGrpSpPr/>
            <p:nvPr/>
          </p:nvGrpSpPr>
          <p:grpSpPr>
            <a:xfrm>
              <a:off x="5063927" y="5242296"/>
              <a:ext cx="180783" cy="575982"/>
              <a:chOff x="5842000" y="1828800"/>
              <a:chExt cx="273050" cy="869950"/>
            </a:xfrm>
          </p:grpSpPr>
          <p:sp>
            <p:nvSpPr>
              <p:cNvPr id="88" name="正方形/長方形 87">
                <a:extLst>
                  <a:ext uri="{FF2B5EF4-FFF2-40B4-BE49-F238E27FC236}">
                    <a16:creationId xmlns:a16="http://schemas.microsoft.com/office/drawing/2014/main" id="{E32A0418-1922-405A-927C-6B4C85AC574A}"/>
                  </a:ext>
                </a:extLst>
              </p:cNvPr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89" name="円/楕円 42">
                <a:extLst>
                  <a:ext uri="{FF2B5EF4-FFF2-40B4-BE49-F238E27FC236}">
                    <a16:creationId xmlns:a16="http://schemas.microsoft.com/office/drawing/2014/main" id="{E216F583-B1EC-4E0D-9718-FF92FB5B29E7}"/>
                  </a:ext>
                </a:extLst>
              </p:cNvPr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90" name="直線コネクタ 89">
                <a:extLst>
                  <a:ext uri="{FF2B5EF4-FFF2-40B4-BE49-F238E27FC236}">
                    <a16:creationId xmlns:a16="http://schemas.microsoft.com/office/drawing/2014/main" id="{29CB5B9F-88AE-42DE-B4D1-0DA8F836A366}"/>
                  </a:ext>
                </a:extLst>
              </p:cNvPr>
              <p:cNvCxnSpPr>
                <a:stCxn id="89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91" name="直線コネクタ 90">
                <a:extLst>
                  <a:ext uri="{FF2B5EF4-FFF2-40B4-BE49-F238E27FC236}">
                    <a16:creationId xmlns:a16="http://schemas.microsoft.com/office/drawing/2014/main" id="{A5B426B2-398B-4208-94E9-FCA5CD56CDE3}"/>
                  </a:ext>
                </a:extLst>
              </p:cNvPr>
              <p:cNvCxnSpPr>
                <a:stCxn id="88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94" name="台形 93">
                <a:extLst>
                  <a:ext uri="{FF2B5EF4-FFF2-40B4-BE49-F238E27FC236}">
                    <a16:creationId xmlns:a16="http://schemas.microsoft.com/office/drawing/2014/main" id="{03E6D28F-8977-43F7-BE3B-E60A7FE5EFF7}"/>
                  </a:ext>
                </a:extLst>
              </p:cNvPr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sp>
          <p:nvSpPr>
            <p:cNvPr id="95" name="楕円 14">
              <a:extLst>
                <a:ext uri="{FF2B5EF4-FFF2-40B4-BE49-F238E27FC236}">
                  <a16:creationId xmlns:a16="http://schemas.microsoft.com/office/drawing/2014/main" id="{C884E667-C9C0-438F-B96A-C0C13EA1A438}"/>
                </a:ext>
              </a:extLst>
            </p:cNvPr>
            <p:cNvSpPr/>
            <p:nvPr/>
          </p:nvSpPr>
          <p:spPr>
            <a:xfrm>
              <a:off x="6728753" y="4762065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96" name="楕円 14">
              <a:extLst>
                <a:ext uri="{FF2B5EF4-FFF2-40B4-BE49-F238E27FC236}">
                  <a16:creationId xmlns:a16="http://schemas.microsoft.com/office/drawing/2014/main" id="{A2B17B31-BCEB-44DF-96B9-C6855634074A}"/>
                </a:ext>
              </a:extLst>
            </p:cNvPr>
            <p:cNvSpPr/>
            <p:nvPr/>
          </p:nvSpPr>
          <p:spPr>
            <a:xfrm>
              <a:off x="9319934" y="4762065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99" name="直線矢印コネクタ 98">
              <a:extLst>
                <a:ext uri="{FF2B5EF4-FFF2-40B4-BE49-F238E27FC236}">
                  <a16:creationId xmlns:a16="http://schemas.microsoft.com/office/drawing/2014/main" id="{210CD4CD-0E00-4427-83D8-91F452E385CE}"/>
                </a:ext>
              </a:extLst>
            </p:cNvPr>
            <p:cNvCxnSpPr>
              <a:cxnSpLocks/>
            </p:cNvCxnSpPr>
            <p:nvPr/>
          </p:nvCxnSpPr>
          <p:spPr>
            <a:xfrm>
              <a:off x="8002687" y="2049149"/>
              <a:ext cx="0" cy="624183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0" name="直線矢印コネクタ 99">
              <a:extLst>
                <a:ext uri="{FF2B5EF4-FFF2-40B4-BE49-F238E27FC236}">
                  <a16:creationId xmlns:a16="http://schemas.microsoft.com/office/drawing/2014/main" id="{1BA0C5C8-F613-42C9-98D1-9228F189CD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98608" y="2049149"/>
              <a:ext cx="0" cy="584451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8" name="直線矢印コネクタ 117">
              <a:extLst>
                <a:ext uri="{FF2B5EF4-FFF2-40B4-BE49-F238E27FC236}">
                  <a16:creationId xmlns:a16="http://schemas.microsoft.com/office/drawing/2014/main" id="{7AFA5465-414D-4BE9-A77A-D8D85E2A408B}"/>
                </a:ext>
              </a:extLst>
            </p:cNvPr>
            <p:cNvCxnSpPr>
              <a:cxnSpLocks/>
            </p:cNvCxnSpPr>
            <p:nvPr/>
          </p:nvCxnSpPr>
          <p:spPr>
            <a:xfrm>
              <a:off x="6277672" y="4951490"/>
              <a:ext cx="490634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9" name="直線矢印コネクタ 118">
              <a:extLst>
                <a:ext uri="{FF2B5EF4-FFF2-40B4-BE49-F238E27FC236}">
                  <a16:creationId xmlns:a16="http://schemas.microsoft.com/office/drawing/2014/main" id="{F2EE7CC5-0CC7-416A-9296-09761CF5C4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77672" y="4855569"/>
              <a:ext cx="450902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1" name="直線矢印コネクタ 120">
              <a:extLst>
                <a:ext uri="{FF2B5EF4-FFF2-40B4-BE49-F238E27FC236}">
                  <a16:creationId xmlns:a16="http://schemas.microsoft.com/office/drawing/2014/main" id="{757CDFD9-CA28-496F-88F9-3705166C4A3B}"/>
                </a:ext>
              </a:extLst>
            </p:cNvPr>
            <p:cNvCxnSpPr>
              <a:cxnSpLocks/>
            </p:cNvCxnSpPr>
            <p:nvPr/>
          </p:nvCxnSpPr>
          <p:spPr>
            <a:xfrm>
              <a:off x="9571374" y="4951490"/>
              <a:ext cx="490634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3" name="直線矢印コネクタ 122">
              <a:extLst>
                <a:ext uri="{FF2B5EF4-FFF2-40B4-BE49-F238E27FC236}">
                  <a16:creationId xmlns:a16="http://schemas.microsoft.com/office/drawing/2014/main" id="{EA6422DE-C28C-4800-8B41-F80DFCC3A9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591240" y="4855569"/>
              <a:ext cx="450902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26" name="テキスト ボックス 125">
              <a:extLst>
                <a:ext uri="{FF2B5EF4-FFF2-40B4-BE49-F238E27FC236}">
                  <a16:creationId xmlns:a16="http://schemas.microsoft.com/office/drawing/2014/main" id="{0613EB85-DFD2-49C3-AF9A-8887762BA146}"/>
                </a:ext>
              </a:extLst>
            </p:cNvPr>
            <p:cNvSpPr txBox="1"/>
            <p:nvPr/>
          </p:nvSpPr>
          <p:spPr>
            <a:xfrm>
              <a:off x="7097462" y="5945387"/>
              <a:ext cx="196250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dirty="0" err="1">
                  <a:solidFill>
                    <a:srgbClr val="221714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TraISARE</a:t>
              </a:r>
              <a:r>
                <a:rPr kumimoji="0" lang="en-US" altLang="ja-JP" sz="1400" dirty="0">
                  <a:solidFill>
                    <a:srgbClr val="221714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 bus network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27" name="テキスト ボックス 126">
              <a:extLst>
                <a:ext uri="{FF2B5EF4-FFF2-40B4-BE49-F238E27FC236}">
                  <a16:creationId xmlns:a16="http://schemas.microsoft.com/office/drawing/2014/main" id="{50D39957-FDDB-4FFA-805C-2E26FB35DF67}"/>
                </a:ext>
              </a:extLst>
            </p:cNvPr>
            <p:cNvSpPr txBox="1"/>
            <p:nvPr/>
          </p:nvSpPr>
          <p:spPr>
            <a:xfrm>
              <a:off x="2235870" y="5945387"/>
              <a:ext cx="196250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dirty="0">
                  <a:solidFill>
                    <a:srgbClr val="221714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Existent bus network</a:t>
              </a:r>
              <a:endParaRPr kumimoji="0" lang="ja-JP" altLang="en-US" sz="1400" b="0" i="0" u="none" strike="noStrike" cap="none" spc="0" normalizeH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</p:grpSp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F16A88AA-92D1-4202-8CAB-B7B7FE07489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035549" y="6632696"/>
            <a:ext cx="156451" cy="230832"/>
          </a:xfrm>
        </p:spPr>
        <p:txBody>
          <a:bodyPr/>
          <a:lstStyle/>
          <a:p>
            <a:fld id="{86CB4B4D-7CA3-9044-876B-883B54F8677D}" type="slidenum">
              <a:rPr lang="en-US" altLang="ja-JP" smtClean="0">
                <a:latin typeface="Helvetica" panose="020B0604020202020204" pitchFamily="34" charset="0"/>
                <a:ea typeface="BIZ UDPゴシック" panose="020B0400000000000000" pitchFamily="50" charset="-128"/>
              </a:rPr>
              <a:pPr/>
              <a:t>4</a:t>
            </a:fld>
            <a:endParaRPr lang="en-US" altLang="ja-JP">
              <a:latin typeface="Helvetica" panose="020B0604020202020204" pitchFamily="34" charset="0"/>
              <a:ea typeface="BIZ UDPゴシック" panose="020B0400000000000000" pitchFamily="50" charset="-128"/>
            </a:endParaRP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CA402C98-98B8-4EFF-8AFD-A400000B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 dirty="0">
              <a:latin typeface="Helvetica" panose="020B0604020202020204" pitchFamily="34" charset="0"/>
              <a:ea typeface="BIZ UDPゴシック" panose="020B0400000000000000" pitchFamily="50" charset="-128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BA015A2C-AF0B-4ECC-95C0-34B182698E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kumimoji="1" lang="ja-JP" altLang="en-US" dirty="0">
              <a:latin typeface="Helvetica" panose="020B0604020202020204" pitchFamily="34" charset="0"/>
              <a:ea typeface="BIZ UDPゴシック" panose="020B0400000000000000" pitchFamily="50" charset="-128"/>
            </a:endParaRPr>
          </a:p>
        </p:txBody>
      </p:sp>
      <p:grpSp>
        <p:nvGrpSpPr>
          <p:cNvPr id="159" name="グループ化 158">
            <a:extLst>
              <a:ext uri="{FF2B5EF4-FFF2-40B4-BE49-F238E27FC236}">
                <a16:creationId xmlns:a16="http://schemas.microsoft.com/office/drawing/2014/main" id="{D974F6FF-7E95-4368-9A65-67F47F1BF55E}"/>
              </a:ext>
            </a:extLst>
          </p:cNvPr>
          <p:cNvGrpSpPr/>
          <p:nvPr/>
        </p:nvGrpSpPr>
        <p:grpSpPr>
          <a:xfrm>
            <a:off x="1281823" y="2092173"/>
            <a:ext cx="9620416" cy="3368963"/>
            <a:chOff x="1438786" y="2227641"/>
            <a:chExt cx="9620416" cy="3368963"/>
          </a:xfrm>
        </p:grpSpPr>
        <p:sp>
          <p:nvSpPr>
            <p:cNvPr id="48" name="フリーフォーム: 図形 47">
              <a:extLst>
                <a:ext uri="{FF2B5EF4-FFF2-40B4-BE49-F238E27FC236}">
                  <a16:creationId xmlns:a16="http://schemas.microsoft.com/office/drawing/2014/main" id="{E1C76449-B185-41D6-A9F6-328C15E91992}"/>
                </a:ext>
              </a:extLst>
            </p:cNvPr>
            <p:cNvSpPr/>
            <p:nvPr/>
          </p:nvSpPr>
          <p:spPr>
            <a:xfrm>
              <a:off x="1508802" y="3851055"/>
              <a:ext cx="9550400" cy="1745549"/>
            </a:xfrm>
            <a:custGeom>
              <a:avLst/>
              <a:gdLst>
                <a:gd name="connsiteX0" fmla="*/ 0 w 9550400"/>
                <a:gd name="connsiteY0" fmla="*/ 1643949 h 1745549"/>
                <a:gd name="connsiteX1" fmla="*/ 988906 w 9550400"/>
                <a:gd name="connsiteY1" fmla="*/ 1074989 h 1745549"/>
                <a:gd name="connsiteX2" fmla="*/ 2926080 w 9550400"/>
                <a:gd name="connsiteY2" fmla="*/ 289282 h 1745549"/>
                <a:gd name="connsiteX3" fmla="*/ 4429760 w 9550400"/>
                <a:gd name="connsiteY3" fmla="*/ 11575 h 1745549"/>
                <a:gd name="connsiteX4" fmla="*/ 5919893 w 9550400"/>
                <a:gd name="connsiteY4" fmla="*/ 86082 h 1745549"/>
                <a:gd name="connsiteX5" fmla="*/ 7186506 w 9550400"/>
                <a:gd name="connsiteY5" fmla="*/ 390882 h 1745549"/>
                <a:gd name="connsiteX6" fmla="*/ 8398933 w 9550400"/>
                <a:gd name="connsiteY6" fmla="*/ 932749 h 1745549"/>
                <a:gd name="connsiteX7" fmla="*/ 9550400 w 9550400"/>
                <a:gd name="connsiteY7" fmla="*/ 1745549 h 174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50400" h="1745549">
                  <a:moveTo>
                    <a:pt x="0" y="1643949"/>
                  </a:moveTo>
                  <a:cubicBezTo>
                    <a:pt x="250613" y="1472358"/>
                    <a:pt x="501226" y="1300767"/>
                    <a:pt x="988906" y="1074989"/>
                  </a:cubicBezTo>
                  <a:cubicBezTo>
                    <a:pt x="1476586" y="849211"/>
                    <a:pt x="2352604" y="466518"/>
                    <a:pt x="2926080" y="289282"/>
                  </a:cubicBezTo>
                  <a:cubicBezTo>
                    <a:pt x="3499556" y="112046"/>
                    <a:pt x="3930791" y="45442"/>
                    <a:pt x="4429760" y="11575"/>
                  </a:cubicBezTo>
                  <a:cubicBezTo>
                    <a:pt x="4928729" y="-22292"/>
                    <a:pt x="5460435" y="22864"/>
                    <a:pt x="5919893" y="86082"/>
                  </a:cubicBezTo>
                  <a:cubicBezTo>
                    <a:pt x="6379351" y="149300"/>
                    <a:pt x="6773333" y="249771"/>
                    <a:pt x="7186506" y="390882"/>
                  </a:cubicBezTo>
                  <a:cubicBezTo>
                    <a:pt x="7599679" y="531993"/>
                    <a:pt x="8004951" y="706971"/>
                    <a:pt x="8398933" y="932749"/>
                  </a:cubicBezTo>
                  <a:cubicBezTo>
                    <a:pt x="8792915" y="1158527"/>
                    <a:pt x="9171657" y="1452038"/>
                    <a:pt x="9550400" y="1745549"/>
                  </a:cubicBezTo>
                </a:path>
              </a:pathLst>
            </a:custGeom>
            <a:noFill/>
            <a:ln w="101600" cap="flat">
              <a:solidFill>
                <a:schemeClr val="accent3">
                  <a:alpha val="50000"/>
                </a:schemeClr>
              </a:solidFill>
              <a:prstDash val="solid"/>
              <a:miter lim="800000"/>
              <a:tailEnd type="stealth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ja-JP" altLang="en-US" sz="1800" b="0" i="0" u="none" strike="noStrike" cap="none" spc="0" normalizeH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</a:endParaRPr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E411E383-D11B-4C96-8DB2-9DB0EA79942A}"/>
                </a:ext>
              </a:extLst>
            </p:cNvPr>
            <p:cNvSpPr/>
            <p:nvPr/>
          </p:nvSpPr>
          <p:spPr>
            <a:xfrm>
              <a:off x="1508802" y="2503161"/>
              <a:ext cx="8961120" cy="1348043"/>
            </a:xfrm>
            <a:custGeom>
              <a:avLst/>
              <a:gdLst>
                <a:gd name="connsiteX0" fmla="*/ 0 w 8961120"/>
                <a:gd name="connsiteY0" fmla="*/ 81280 h 1348043"/>
                <a:gd name="connsiteX1" fmla="*/ 704427 w 8961120"/>
                <a:gd name="connsiteY1" fmla="*/ 501227 h 1348043"/>
                <a:gd name="connsiteX2" fmla="*/ 2113280 w 8961120"/>
                <a:gd name="connsiteY2" fmla="*/ 988907 h 1348043"/>
                <a:gd name="connsiteX3" fmla="*/ 4531360 w 8961120"/>
                <a:gd name="connsiteY3" fmla="*/ 1347894 h 1348043"/>
                <a:gd name="connsiteX4" fmla="*/ 6983307 w 8961120"/>
                <a:gd name="connsiteY4" fmla="*/ 948267 h 1348043"/>
                <a:gd name="connsiteX5" fmla="*/ 8270240 w 8961120"/>
                <a:gd name="connsiteY5" fmla="*/ 419947 h 1348043"/>
                <a:gd name="connsiteX6" fmla="*/ 8961120 w 8961120"/>
                <a:gd name="connsiteY6" fmla="*/ 0 h 1348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1120" h="1348043">
                  <a:moveTo>
                    <a:pt x="0" y="81280"/>
                  </a:moveTo>
                  <a:cubicBezTo>
                    <a:pt x="176107" y="215618"/>
                    <a:pt x="352214" y="349956"/>
                    <a:pt x="704427" y="501227"/>
                  </a:cubicBezTo>
                  <a:cubicBezTo>
                    <a:pt x="1056640" y="652498"/>
                    <a:pt x="1475458" y="847796"/>
                    <a:pt x="2113280" y="988907"/>
                  </a:cubicBezTo>
                  <a:cubicBezTo>
                    <a:pt x="2751102" y="1130018"/>
                    <a:pt x="3719689" y="1354667"/>
                    <a:pt x="4531360" y="1347894"/>
                  </a:cubicBezTo>
                  <a:cubicBezTo>
                    <a:pt x="5343031" y="1341121"/>
                    <a:pt x="6360160" y="1102925"/>
                    <a:pt x="6983307" y="948267"/>
                  </a:cubicBezTo>
                  <a:cubicBezTo>
                    <a:pt x="7606454" y="793609"/>
                    <a:pt x="7940604" y="577992"/>
                    <a:pt x="8270240" y="419947"/>
                  </a:cubicBezTo>
                  <a:cubicBezTo>
                    <a:pt x="8599876" y="261902"/>
                    <a:pt x="8780498" y="130951"/>
                    <a:pt x="8961120" y="0"/>
                  </a:cubicBezTo>
                </a:path>
              </a:pathLst>
            </a:custGeom>
            <a:noFill/>
            <a:ln w="101600" cap="flat">
              <a:solidFill>
                <a:schemeClr val="accent6">
                  <a:alpha val="50000"/>
                </a:schemeClr>
              </a:solidFill>
              <a:prstDash val="solid"/>
              <a:miter lim="800000"/>
              <a:headEnd type="none"/>
              <a:tailEnd type="stealth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ja-JP" altLang="en-US" sz="1800" b="0" i="0" u="none" strike="noStrike" cap="none" spc="0" normalizeH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</a:endParaRPr>
            </a:p>
          </p:txBody>
        </p:sp>
        <p:sp>
          <p:nvSpPr>
            <p:cNvPr id="5" name="楕円 4">
              <a:extLst>
                <a:ext uri="{FF2B5EF4-FFF2-40B4-BE49-F238E27FC236}">
                  <a16:creationId xmlns:a16="http://schemas.microsoft.com/office/drawing/2014/main" id="{FD4A7ECA-8CEA-4D4E-8683-8B085F296DBD}"/>
                </a:ext>
              </a:extLst>
            </p:cNvPr>
            <p:cNvSpPr/>
            <p:nvPr/>
          </p:nvSpPr>
          <p:spPr>
            <a:xfrm>
              <a:off x="2274189" y="4860281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7" name="楕円 6">
              <a:extLst>
                <a:ext uri="{FF2B5EF4-FFF2-40B4-BE49-F238E27FC236}">
                  <a16:creationId xmlns:a16="http://schemas.microsoft.com/office/drawing/2014/main" id="{CCFD084B-65FD-44CC-ACC8-3F8ADFC55BBA}"/>
                </a:ext>
              </a:extLst>
            </p:cNvPr>
            <p:cNvSpPr/>
            <p:nvPr/>
          </p:nvSpPr>
          <p:spPr>
            <a:xfrm>
              <a:off x="4252002" y="4061028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8" name="楕円 7">
              <a:extLst>
                <a:ext uri="{FF2B5EF4-FFF2-40B4-BE49-F238E27FC236}">
                  <a16:creationId xmlns:a16="http://schemas.microsoft.com/office/drawing/2014/main" id="{147DBADA-C5D9-4E14-A40A-A65EC3535831}"/>
                </a:ext>
              </a:extLst>
            </p:cNvPr>
            <p:cNvSpPr/>
            <p:nvPr/>
          </p:nvSpPr>
          <p:spPr>
            <a:xfrm>
              <a:off x="5796322" y="3776548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D752DD94-97B4-4B51-AC9B-265CB6D8BAF7}"/>
                </a:ext>
              </a:extLst>
            </p:cNvPr>
            <p:cNvSpPr/>
            <p:nvPr/>
          </p:nvSpPr>
          <p:spPr>
            <a:xfrm>
              <a:off x="7262167" y="3851055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0" name="楕円 9">
              <a:extLst>
                <a:ext uri="{FF2B5EF4-FFF2-40B4-BE49-F238E27FC236}">
                  <a16:creationId xmlns:a16="http://schemas.microsoft.com/office/drawing/2014/main" id="{782CFDCC-3293-4360-B9AD-E4F9DA6A66BA}"/>
                </a:ext>
              </a:extLst>
            </p:cNvPr>
            <p:cNvSpPr/>
            <p:nvPr/>
          </p:nvSpPr>
          <p:spPr>
            <a:xfrm>
              <a:off x="8493012" y="4152468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1" name="楕円 10">
              <a:extLst>
                <a:ext uri="{FF2B5EF4-FFF2-40B4-BE49-F238E27FC236}">
                  <a16:creationId xmlns:a16="http://schemas.microsoft.com/office/drawing/2014/main" id="{F300799C-E4D1-4A35-9C62-933105437369}"/>
                </a:ext>
              </a:extLst>
            </p:cNvPr>
            <p:cNvSpPr/>
            <p:nvPr/>
          </p:nvSpPr>
          <p:spPr>
            <a:xfrm>
              <a:off x="9700566" y="4677400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2" name="楕円 11">
              <a:extLst>
                <a:ext uri="{FF2B5EF4-FFF2-40B4-BE49-F238E27FC236}">
                  <a16:creationId xmlns:a16="http://schemas.microsoft.com/office/drawing/2014/main" id="{D67FA76A-D165-4EE8-8D20-D62F85CA63A4}"/>
                </a:ext>
              </a:extLst>
            </p:cNvPr>
            <p:cNvSpPr/>
            <p:nvPr/>
          </p:nvSpPr>
          <p:spPr>
            <a:xfrm>
              <a:off x="8281138" y="3336909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3" name="楕円 12">
              <a:extLst>
                <a:ext uri="{FF2B5EF4-FFF2-40B4-BE49-F238E27FC236}">
                  <a16:creationId xmlns:a16="http://schemas.microsoft.com/office/drawing/2014/main" id="{AFBBAC5D-C2AB-4DF0-A95B-169783A0C20D}"/>
                </a:ext>
              </a:extLst>
            </p:cNvPr>
            <p:cNvSpPr/>
            <p:nvPr/>
          </p:nvSpPr>
          <p:spPr>
            <a:xfrm>
              <a:off x="9549821" y="2836640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4" name="楕円 13">
              <a:extLst>
                <a:ext uri="{FF2B5EF4-FFF2-40B4-BE49-F238E27FC236}">
                  <a16:creationId xmlns:a16="http://schemas.microsoft.com/office/drawing/2014/main" id="{F9C50850-8435-4E82-912E-8447B0FB870B}"/>
                </a:ext>
              </a:extLst>
            </p:cNvPr>
            <p:cNvSpPr/>
            <p:nvPr/>
          </p:nvSpPr>
          <p:spPr>
            <a:xfrm>
              <a:off x="3462326" y="3354008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5" name="楕円 14">
              <a:extLst>
                <a:ext uri="{FF2B5EF4-FFF2-40B4-BE49-F238E27FC236}">
                  <a16:creationId xmlns:a16="http://schemas.microsoft.com/office/drawing/2014/main" id="{77B7A1DF-D729-4140-BF7D-DAFA95790F5A}"/>
                </a:ext>
              </a:extLst>
            </p:cNvPr>
            <p:cNvSpPr/>
            <p:nvPr/>
          </p:nvSpPr>
          <p:spPr>
            <a:xfrm>
              <a:off x="1972361" y="2916120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54" name="直線矢印コネクタ 53">
              <a:extLst>
                <a:ext uri="{FF2B5EF4-FFF2-40B4-BE49-F238E27FC236}">
                  <a16:creationId xmlns:a16="http://schemas.microsoft.com/office/drawing/2014/main" id="{1CA308D6-CABC-42C2-95D6-C866FBDB9848}"/>
                </a:ext>
              </a:extLst>
            </p:cNvPr>
            <p:cNvCxnSpPr>
              <a:stCxn id="5" idx="7"/>
              <a:endCxn id="7" idx="3"/>
            </p:cNvCxnSpPr>
            <p:nvPr/>
          </p:nvCxnSpPr>
          <p:spPr>
            <a:xfrm flipV="1">
              <a:off x="2635881" y="4217127"/>
              <a:ext cx="1678177" cy="669936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5" name="直線矢印コネクタ 54">
              <a:extLst>
                <a:ext uri="{FF2B5EF4-FFF2-40B4-BE49-F238E27FC236}">
                  <a16:creationId xmlns:a16="http://schemas.microsoft.com/office/drawing/2014/main" id="{3AF7E6F5-363D-4DC9-BB7E-DF3026427B06}"/>
                </a:ext>
              </a:extLst>
            </p:cNvPr>
            <p:cNvCxnSpPr>
              <a:cxnSpLocks/>
              <a:stCxn id="7" idx="7"/>
            </p:cNvCxnSpPr>
            <p:nvPr/>
          </p:nvCxnSpPr>
          <p:spPr>
            <a:xfrm flipV="1">
              <a:off x="4613694" y="3877043"/>
              <a:ext cx="1182628" cy="210767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8" name="直線矢印コネクタ 57">
              <a:extLst>
                <a:ext uri="{FF2B5EF4-FFF2-40B4-BE49-F238E27FC236}">
                  <a16:creationId xmlns:a16="http://schemas.microsoft.com/office/drawing/2014/main" id="{9362D431-7C04-43F4-BE0C-4C157A792945}"/>
                </a:ext>
              </a:extLst>
            </p:cNvPr>
            <p:cNvCxnSpPr>
              <a:cxnSpLocks/>
              <a:stCxn id="8" idx="6"/>
              <a:endCxn id="9" idx="2"/>
            </p:cNvCxnSpPr>
            <p:nvPr/>
          </p:nvCxnSpPr>
          <p:spPr>
            <a:xfrm>
              <a:off x="6220070" y="3867989"/>
              <a:ext cx="1042097" cy="74507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1" name="直線矢印コネクタ 60">
              <a:extLst>
                <a:ext uri="{FF2B5EF4-FFF2-40B4-BE49-F238E27FC236}">
                  <a16:creationId xmlns:a16="http://schemas.microsoft.com/office/drawing/2014/main" id="{A3FA3A9E-F812-4437-A4C5-AE351170B5B4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7654887" y="3993609"/>
              <a:ext cx="900181" cy="185641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6" name="直線矢印コネクタ 65">
              <a:extLst>
                <a:ext uri="{FF2B5EF4-FFF2-40B4-BE49-F238E27FC236}">
                  <a16:creationId xmlns:a16="http://schemas.microsoft.com/office/drawing/2014/main" id="{A325E7CA-0977-4847-890B-4F14BE210B22}"/>
                </a:ext>
              </a:extLst>
            </p:cNvPr>
            <p:cNvCxnSpPr>
              <a:cxnSpLocks/>
            </p:cNvCxnSpPr>
            <p:nvPr/>
          </p:nvCxnSpPr>
          <p:spPr>
            <a:xfrm>
              <a:off x="8810459" y="4286011"/>
              <a:ext cx="907918" cy="419487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1" name="直線矢印コネクタ 70">
              <a:extLst>
                <a:ext uri="{FF2B5EF4-FFF2-40B4-BE49-F238E27FC236}">
                  <a16:creationId xmlns:a16="http://schemas.microsoft.com/office/drawing/2014/main" id="{0BFF9CB7-375A-4B8D-BBE2-FCC5F04D1C7F}"/>
                </a:ext>
              </a:extLst>
            </p:cNvPr>
            <p:cNvCxnSpPr>
              <a:cxnSpLocks/>
              <a:stCxn id="13" idx="3"/>
              <a:endCxn id="12" idx="7"/>
            </p:cNvCxnSpPr>
            <p:nvPr/>
          </p:nvCxnSpPr>
          <p:spPr>
            <a:xfrm flipH="1">
              <a:off x="8642830" y="2992739"/>
              <a:ext cx="969047" cy="370952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5" name="直線矢印コネクタ 74">
              <a:extLst>
                <a:ext uri="{FF2B5EF4-FFF2-40B4-BE49-F238E27FC236}">
                  <a16:creationId xmlns:a16="http://schemas.microsoft.com/office/drawing/2014/main" id="{664179ED-65AB-4BD9-B25C-4097A13AE44D}"/>
                </a:ext>
              </a:extLst>
            </p:cNvPr>
            <p:cNvCxnSpPr>
              <a:cxnSpLocks/>
              <a:stCxn id="12" idx="2"/>
              <a:endCxn id="8" idx="6"/>
            </p:cNvCxnSpPr>
            <p:nvPr/>
          </p:nvCxnSpPr>
          <p:spPr>
            <a:xfrm flipH="1">
              <a:off x="6220070" y="3428350"/>
              <a:ext cx="2061068" cy="439639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8" name="直線矢印コネクタ 77">
              <a:extLst>
                <a:ext uri="{FF2B5EF4-FFF2-40B4-BE49-F238E27FC236}">
                  <a16:creationId xmlns:a16="http://schemas.microsoft.com/office/drawing/2014/main" id="{948CA401-ADE7-469B-BE80-7CAD0FE9F556}"/>
                </a:ext>
              </a:extLst>
            </p:cNvPr>
            <p:cNvCxnSpPr>
              <a:cxnSpLocks/>
              <a:stCxn id="8" idx="2"/>
              <a:endCxn id="14" idx="5"/>
            </p:cNvCxnSpPr>
            <p:nvPr/>
          </p:nvCxnSpPr>
          <p:spPr>
            <a:xfrm flipH="1" flipV="1">
              <a:off x="3824018" y="3510107"/>
              <a:ext cx="1972304" cy="357882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2" name="直線矢印コネクタ 81">
              <a:extLst>
                <a:ext uri="{FF2B5EF4-FFF2-40B4-BE49-F238E27FC236}">
                  <a16:creationId xmlns:a16="http://schemas.microsoft.com/office/drawing/2014/main" id="{5EC6D1BE-697E-460D-B67E-D24B1285CED3}"/>
                </a:ext>
              </a:extLst>
            </p:cNvPr>
            <p:cNvCxnSpPr>
              <a:cxnSpLocks/>
              <a:stCxn id="14" idx="2"/>
              <a:endCxn id="15" idx="5"/>
            </p:cNvCxnSpPr>
            <p:nvPr/>
          </p:nvCxnSpPr>
          <p:spPr>
            <a:xfrm flipH="1" flipV="1">
              <a:off x="2334053" y="3072219"/>
              <a:ext cx="1128273" cy="37323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5" name="直線矢印コネクタ 114">
              <a:extLst>
                <a:ext uri="{FF2B5EF4-FFF2-40B4-BE49-F238E27FC236}">
                  <a16:creationId xmlns:a16="http://schemas.microsoft.com/office/drawing/2014/main" id="{44BF3F31-511C-4976-B162-52E8DC9E3E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90709" y="2432462"/>
              <a:ext cx="1270237" cy="523611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6" name="直線矢印コネクタ 115">
              <a:extLst>
                <a:ext uri="{FF2B5EF4-FFF2-40B4-BE49-F238E27FC236}">
                  <a16:creationId xmlns:a16="http://schemas.microsoft.com/office/drawing/2014/main" id="{7BAE1798-9C2E-41D7-957D-681EF678EE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30857" y="2955176"/>
              <a:ext cx="2499992" cy="479449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7" name="直線矢印コネクタ 116">
              <a:extLst>
                <a:ext uri="{FF2B5EF4-FFF2-40B4-BE49-F238E27FC236}">
                  <a16:creationId xmlns:a16="http://schemas.microsoft.com/office/drawing/2014/main" id="{EA0ADE27-7159-4B04-BFBC-3FF6E41543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651539" y="3074658"/>
              <a:ext cx="2379318" cy="361861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8" name="直線矢印コネクタ 117">
              <a:extLst>
                <a:ext uri="{FF2B5EF4-FFF2-40B4-BE49-F238E27FC236}">
                  <a16:creationId xmlns:a16="http://schemas.microsoft.com/office/drawing/2014/main" id="{2C65859A-79E9-4154-9AF8-C7147964696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84236" y="2578470"/>
              <a:ext cx="1506995" cy="493254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89" name="正方形/長方形 88">
              <a:extLst>
                <a:ext uri="{FF2B5EF4-FFF2-40B4-BE49-F238E27FC236}">
                  <a16:creationId xmlns:a16="http://schemas.microsoft.com/office/drawing/2014/main" id="{978B7D09-7E92-4867-AE7E-09BFCB2E5FAA}"/>
                </a:ext>
              </a:extLst>
            </p:cNvPr>
            <p:cNvSpPr/>
            <p:nvPr/>
          </p:nvSpPr>
          <p:spPr>
            <a:xfrm>
              <a:off x="3985310" y="2838777"/>
              <a:ext cx="1022773" cy="443442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isometricOffAxis1Right">
                <a:rot lat="700428" lon="159343" rev="21168000"/>
              </a:camera>
              <a:lightRig rig="threePt" dir="t"/>
            </a:scene3d>
            <a:sp3d extrusionH="463550">
              <a:extrusionClr>
                <a:schemeClr val="bg1">
                  <a:lumMod val="50000"/>
                </a:schemeClr>
              </a:extrusion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34" name="直線矢印コネクタ 33">
              <a:extLst>
                <a:ext uri="{FF2B5EF4-FFF2-40B4-BE49-F238E27FC236}">
                  <a16:creationId xmlns:a16="http://schemas.microsoft.com/office/drawing/2014/main" id="{BC1F4A21-03CE-4547-8F80-9B42A15B07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86063" y="3777468"/>
              <a:ext cx="1977812" cy="745162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5" name="直線矢印コネクタ 34">
              <a:extLst>
                <a:ext uri="{FF2B5EF4-FFF2-40B4-BE49-F238E27FC236}">
                  <a16:creationId xmlns:a16="http://schemas.microsoft.com/office/drawing/2014/main" id="{97D27D93-5AAD-41B1-AF55-7579335AB8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63876" y="3425567"/>
              <a:ext cx="1566980" cy="345009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6" name="直線矢印コネクタ 35">
              <a:extLst>
                <a:ext uri="{FF2B5EF4-FFF2-40B4-BE49-F238E27FC236}">
                  <a16:creationId xmlns:a16="http://schemas.microsoft.com/office/drawing/2014/main" id="{55700499-DB59-4758-9EA8-C6BE3C40A5A2}"/>
                </a:ext>
              </a:extLst>
            </p:cNvPr>
            <p:cNvCxnSpPr>
              <a:cxnSpLocks/>
            </p:cNvCxnSpPr>
            <p:nvPr/>
          </p:nvCxnSpPr>
          <p:spPr>
            <a:xfrm>
              <a:off x="6030856" y="3432368"/>
              <a:ext cx="1443185" cy="152752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7" name="直線矢印コネクタ 36">
              <a:extLst>
                <a:ext uri="{FF2B5EF4-FFF2-40B4-BE49-F238E27FC236}">
                  <a16:creationId xmlns:a16="http://schemas.microsoft.com/office/drawing/2014/main" id="{B732A9A3-A0B6-4E97-90BD-3EA24B59E0FE}"/>
                </a:ext>
              </a:extLst>
            </p:cNvPr>
            <p:cNvCxnSpPr>
              <a:cxnSpLocks/>
            </p:cNvCxnSpPr>
            <p:nvPr/>
          </p:nvCxnSpPr>
          <p:spPr>
            <a:xfrm>
              <a:off x="7474041" y="3574459"/>
              <a:ext cx="1253971" cy="292057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8" name="直線矢印コネクタ 37">
              <a:extLst>
                <a:ext uri="{FF2B5EF4-FFF2-40B4-BE49-F238E27FC236}">
                  <a16:creationId xmlns:a16="http://schemas.microsoft.com/office/drawing/2014/main" id="{4D9EFA83-F8DE-43CA-BA49-657CB7D5104A}"/>
                </a:ext>
              </a:extLst>
            </p:cNvPr>
            <p:cNvCxnSpPr>
              <a:cxnSpLocks/>
            </p:cNvCxnSpPr>
            <p:nvPr/>
          </p:nvCxnSpPr>
          <p:spPr>
            <a:xfrm>
              <a:off x="8728012" y="3877043"/>
              <a:ext cx="1184428" cy="525475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AC42C887-A3BE-45AF-A430-95B2D11E652A}"/>
                </a:ext>
              </a:extLst>
            </p:cNvPr>
            <p:cNvSpPr/>
            <p:nvPr/>
          </p:nvSpPr>
          <p:spPr>
            <a:xfrm>
              <a:off x="2923857" y="3861409"/>
              <a:ext cx="1022773" cy="443442"/>
            </a:xfrm>
            <a:prstGeom prst="rect">
              <a:avLst/>
            </a:prstGeom>
            <a:solidFill>
              <a:schemeClr val="accent3">
                <a:lumMod val="20000"/>
                <a:lumOff val="80000"/>
                <a:alpha val="70000"/>
              </a:schemeClr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isometricOffAxis1Right">
                <a:rot lat="1637861" lon="19044919" rev="44543"/>
              </a:camera>
              <a:lightRig rig="threePt" dir="t"/>
            </a:scene3d>
            <a:sp3d extrusionH="463550">
              <a:extrusionClr>
                <a:schemeClr val="bg1">
                  <a:lumMod val="50000"/>
                </a:schemeClr>
              </a:extrusion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30" name="直線コネクタ 29">
              <a:extLst>
                <a:ext uri="{FF2B5EF4-FFF2-40B4-BE49-F238E27FC236}">
                  <a16:creationId xmlns:a16="http://schemas.microsoft.com/office/drawing/2014/main" id="{935D9D4D-1890-4251-B977-D4D07C9FE9D1}"/>
                </a:ext>
              </a:extLst>
            </p:cNvPr>
            <p:cNvCxnSpPr>
              <a:cxnSpLocks/>
            </p:cNvCxnSpPr>
            <p:nvPr/>
          </p:nvCxnSpPr>
          <p:spPr>
            <a:xfrm>
              <a:off x="6006720" y="3016093"/>
              <a:ext cx="0" cy="835606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9" name="直線コネクタ 58">
              <a:extLst>
                <a:ext uri="{FF2B5EF4-FFF2-40B4-BE49-F238E27FC236}">
                  <a16:creationId xmlns:a16="http://schemas.microsoft.com/office/drawing/2014/main" id="{D6CA667E-473A-435C-9A5F-F2C180D1081F}"/>
                </a:ext>
              </a:extLst>
            </p:cNvPr>
            <p:cNvCxnSpPr>
              <a:cxnSpLocks/>
            </p:cNvCxnSpPr>
            <p:nvPr/>
          </p:nvCxnSpPr>
          <p:spPr>
            <a:xfrm>
              <a:off x="7467268" y="3166433"/>
              <a:ext cx="0" cy="78820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2" name="直線コネクタ 61">
              <a:extLst>
                <a:ext uri="{FF2B5EF4-FFF2-40B4-BE49-F238E27FC236}">
                  <a16:creationId xmlns:a16="http://schemas.microsoft.com/office/drawing/2014/main" id="{34E2350E-5F0F-473D-AE79-60B7C1E357F1}"/>
                </a:ext>
              </a:extLst>
            </p:cNvPr>
            <p:cNvCxnSpPr>
              <a:cxnSpLocks/>
            </p:cNvCxnSpPr>
            <p:nvPr/>
          </p:nvCxnSpPr>
          <p:spPr>
            <a:xfrm>
              <a:off x="8704886" y="3441896"/>
              <a:ext cx="0" cy="815410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7" name="直線コネクタ 66">
              <a:extLst>
                <a:ext uri="{FF2B5EF4-FFF2-40B4-BE49-F238E27FC236}">
                  <a16:creationId xmlns:a16="http://schemas.microsoft.com/office/drawing/2014/main" id="{4AFA0169-A670-4457-9F84-005C5BDF04E5}"/>
                </a:ext>
              </a:extLst>
            </p:cNvPr>
            <p:cNvCxnSpPr>
              <a:cxnSpLocks/>
            </p:cNvCxnSpPr>
            <p:nvPr/>
          </p:nvCxnSpPr>
          <p:spPr>
            <a:xfrm>
              <a:off x="9912440" y="4033936"/>
              <a:ext cx="0" cy="745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8" name="直線コネクタ 67">
              <a:extLst>
                <a:ext uri="{FF2B5EF4-FFF2-40B4-BE49-F238E27FC236}">
                  <a16:creationId xmlns:a16="http://schemas.microsoft.com/office/drawing/2014/main" id="{C871B8D7-C367-4C23-9F7E-0D6EF29C2D57}"/>
                </a:ext>
              </a:extLst>
            </p:cNvPr>
            <p:cNvCxnSpPr>
              <a:cxnSpLocks/>
            </p:cNvCxnSpPr>
            <p:nvPr/>
          </p:nvCxnSpPr>
          <p:spPr>
            <a:xfrm>
              <a:off x="4463875" y="3796229"/>
              <a:ext cx="0" cy="34059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4" name="直線コネクタ 73">
              <a:extLst>
                <a:ext uri="{FF2B5EF4-FFF2-40B4-BE49-F238E27FC236}">
                  <a16:creationId xmlns:a16="http://schemas.microsoft.com/office/drawing/2014/main" id="{87A16075-9252-4D38-A525-B8BC09C56045}"/>
                </a:ext>
              </a:extLst>
            </p:cNvPr>
            <p:cNvCxnSpPr>
              <a:cxnSpLocks/>
            </p:cNvCxnSpPr>
            <p:nvPr/>
          </p:nvCxnSpPr>
          <p:spPr>
            <a:xfrm>
              <a:off x="2486312" y="4514802"/>
              <a:ext cx="0" cy="436919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9" name="直線コネクタ 78">
              <a:extLst>
                <a:ext uri="{FF2B5EF4-FFF2-40B4-BE49-F238E27FC236}">
                  <a16:creationId xmlns:a16="http://schemas.microsoft.com/office/drawing/2014/main" id="{53603854-105E-48F0-A575-A36D339DD4BC}"/>
                </a:ext>
              </a:extLst>
            </p:cNvPr>
            <p:cNvCxnSpPr>
              <a:cxnSpLocks/>
            </p:cNvCxnSpPr>
            <p:nvPr/>
          </p:nvCxnSpPr>
          <p:spPr>
            <a:xfrm>
              <a:off x="2184733" y="2578470"/>
              <a:ext cx="0" cy="438127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0" name="直線コネクタ 79">
              <a:extLst>
                <a:ext uri="{FF2B5EF4-FFF2-40B4-BE49-F238E27FC236}">
                  <a16:creationId xmlns:a16="http://schemas.microsoft.com/office/drawing/2014/main" id="{9A99F76F-2DAB-4E28-A8FC-07C26887F22A}"/>
                </a:ext>
              </a:extLst>
            </p:cNvPr>
            <p:cNvCxnSpPr>
              <a:cxnSpLocks/>
            </p:cNvCxnSpPr>
            <p:nvPr/>
          </p:nvCxnSpPr>
          <p:spPr>
            <a:xfrm>
              <a:off x="3674200" y="2654231"/>
              <a:ext cx="0" cy="802209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6" name="直線コネクタ 85">
              <a:extLst>
                <a:ext uri="{FF2B5EF4-FFF2-40B4-BE49-F238E27FC236}">
                  <a16:creationId xmlns:a16="http://schemas.microsoft.com/office/drawing/2014/main" id="{102FEC49-F047-4967-B627-14A91BFED4B3}"/>
                </a:ext>
              </a:extLst>
            </p:cNvPr>
            <p:cNvCxnSpPr>
              <a:cxnSpLocks/>
            </p:cNvCxnSpPr>
            <p:nvPr/>
          </p:nvCxnSpPr>
          <p:spPr>
            <a:xfrm>
              <a:off x="8493012" y="2992739"/>
              <a:ext cx="0" cy="435350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95" name="直線コネクタ 94">
              <a:extLst>
                <a:ext uri="{FF2B5EF4-FFF2-40B4-BE49-F238E27FC236}">
                  <a16:creationId xmlns:a16="http://schemas.microsoft.com/office/drawing/2014/main" id="{C6BB1A51-C3BC-4843-BEEA-51DEF176B087}"/>
                </a:ext>
              </a:extLst>
            </p:cNvPr>
            <p:cNvCxnSpPr>
              <a:cxnSpLocks/>
            </p:cNvCxnSpPr>
            <p:nvPr/>
          </p:nvCxnSpPr>
          <p:spPr>
            <a:xfrm>
              <a:off x="9760946" y="2446268"/>
              <a:ext cx="0" cy="481812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4" name="直線矢印コネクタ 103">
              <a:extLst>
                <a:ext uri="{FF2B5EF4-FFF2-40B4-BE49-F238E27FC236}">
                  <a16:creationId xmlns:a16="http://schemas.microsoft.com/office/drawing/2014/main" id="{2ABBE7D4-C969-40CE-8BCA-11896418D77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674200" y="2657677"/>
              <a:ext cx="2356659" cy="358416"/>
            </a:xfrm>
            <a:prstGeom prst="straightConnector1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5" name="直線矢印コネクタ 104">
              <a:extLst>
                <a:ext uri="{FF2B5EF4-FFF2-40B4-BE49-F238E27FC236}">
                  <a16:creationId xmlns:a16="http://schemas.microsoft.com/office/drawing/2014/main" id="{41C9C1C6-A9E8-4E46-BE6D-97FB0A893A1E}"/>
                </a:ext>
              </a:extLst>
            </p:cNvPr>
            <p:cNvCxnSpPr>
              <a:cxnSpLocks/>
            </p:cNvCxnSpPr>
            <p:nvPr/>
          </p:nvCxnSpPr>
          <p:spPr>
            <a:xfrm>
              <a:off x="6030856" y="3013681"/>
              <a:ext cx="1443185" cy="152752"/>
            </a:xfrm>
            <a:prstGeom prst="straightConnector1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6" name="直線矢印コネクタ 105">
              <a:extLst>
                <a:ext uri="{FF2B5EF4-FFF2-40B4-BE49-F238E27FC236}">
                  <a16:creationId xmlns:a16="http://schemas.microsoft.com/office/drawing/2014/main" id="{3369C40E-2281-465B-8C96-5108614B5FD4}"/>
                </a:ext>
              </a:extLst>
            </p:cNvPr>
            <p:cNvCxnSpPr>
              <a:cxnSpLocks/>
            </p:cNvCxnSpPr>
            <p:nvPr/>
          </p:nvCxnSpPr>
          <p:spPr>
            <a:xfrm>
              <a:off x="7474041" y="3174095"/>
              <a:ext cx="1253971" cy="292057"/>
            </a:xfrm>
            <a:prstGeom prst="straightConnector1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7" name="直線矢印コネクタ 106">
              <a:extLst>
                <a:ext uri="{FF2B5EF4-FFF2-40B4-BE49-F238E27FC236}">
                  <a16:creationId xmlns:a16="http://schemas.microsoft.com/office/drawing/2014/main" id="{2DF3DECF-88E6-40FB-BF5F-A4F51461730B}"/>
                </a:ext>
              </a:extLst>
            </p:cNvPr>
            <p:cNvCxnSpPr>
              <a:cxnSpLocks/>
            </p:cNvCxnSpPr>
            <p:nvPr/>
          </p:nvCxnSpPr>
          <p:spPr>
            <a:xfrm>
              <a:off x="8728012" y="3491219"/>
              <a:ext cx="1184428" cy="525475"/>
            </a:xfrm>
            <a:prstGeom prst="straightConnector1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34" name="フリーフォーム: 図形 133">
              <a:extLst>
                <a:ext uri="{FF2B5EF4-FFF2-40B4-BE49-F238E27FC236}">
                  <a16:creationId xmlns:a16="http://schemas.microsoft.com/office/drawing/2014/main" id="{368056C1-08AE-4D7B-BDC9-C03E4D476B32}"/>
                </a:ext>
              </a:extLst>
            </p:cNvPr>
            <p:cNvSpPr/>
            <p:nvPr/>
          </p:nvSpPr>
          <p:spPr>
            <a:xfrm>
              <a:off x="3666108" y="2627869"/>
              <a:ext cx="2323254" cy="379307"/>
            </a:xfrm>
            <a:custGeom>
              <a:avLst/>
              <a:gdLst>
                <a:gd name="connsiteX0" fmla="*/ 0 w 2323254"/>
                <a:gd name="connsiteY0" fmla="*/ 0 h 379307"/>
                <a:gd name="connsiteX1" fmla="*/ 2323254 w 2323254"/>
                <a:gd name="connsiteY1" fmla="*/ 379307 h 379307"/>
                <a:gd name="connsiteX2" fmla="*/ 2323254 w 2323254"/>
                <a:gd name="connsiteY2" fmla="*/ 379307 h 37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23254" h="379307">
                  <a:moveTo>
                    <a:pt x="0" y="0"/>
                  </a:moveTo>
                  <a:lnTo>
                    <a:pt x="2323254" y="379307"/>
                  </a:lnTo>
                  <a:lnTo>
                    <a:pt x="2323254" y="379307"/>
                  </a:lnTo>
                </a:path>
              </a:pathLst>
            </a:custGeom>
            <a:noFill/>
            <a:ln w="101600" cap="flat">
              <a:solidFill>
                <a:schemeClr val="accent4">
                  <a:alpha val="50000"/>
                </a:schemeClr>
              </a:solidFill>
              <a:prstDash val="solid"/>
              <a:miter lim="800000"/>
              <a:headEnd type="none"/>
              <a:tailEnd type="stealth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ja-JP" altLang="en-US" sz="1800" b="0" i="0" u="none" strike="noStrike" cap="none" spc="0" normalizeH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</a:endParaRPr>
            </a:p>
          </p:txBody>
        </p:sp>
        <p:sp>
          <p:nvSpPr>
            <p:cNvPr id="135" name="フリーフォーム: 図形 134">
              <a:extLst>
                <a:ext uri="{FF2B5EF4-FFF2-40B4-BE49-F238E27FC236}">
                  <a16:creationId xmlns:a16="http://schemas.microsoft.com/office/drawing/2014/main" id="{4581A8DF-1B30-4DD7-8D81-85D983513957}"/>
                </a:ext>
              </a:extLst>
            </p:cNvPr>
            <p:cNvSpPr/>
            <p:nvPr/>
          </p:nvSpPr>
          <p:spPr>
            <a:xfrm>
              <a:off x="6007947" y="3014135"/>
              <a:ext cx="3901440" cy="1002454"/>
            </a:xfrm>
            <a:custGeom>
              <a:avLst/>
              <a:gdLst>
                <a:gd name="connsiteX0" fmla="*/ 0 w 3901440"/>
                <a:gd name="connsiteY0" fmla="*/ 0 h 1002454"/>
                <a:gd name="connsiteX1" fmla="*/ 1456267 w 3901440"/>
                <a:gd name="connsiteY1" fmla="*/ 149014 h 1002454"/>
                <a:gd name="connsiteX2" fmla="*/ 2695787 w 3901440"/>
                <a:gd name="connsiteY2" fmla="*/ 447040 h 1002454"/>
                <a:gd name="connsiteX3" fmla="*/ 3901440 w 3901440"/>
                <a:gd name="connsiteY3" fmla="*/ 1002454 h 100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1440" h="1002454">
                  <a:moveTo>
                    <a:pt x="0" y="0"/>
                  </a:moveTo>
                  <a:cubicBezTo>
                    <a:pt x="503484" y="37253"/>
                    <a:pt x="1006969" y="74507"/>
                    <a:pt x="1456267" y="149014"/>
                  </a:cubicBezTo>
                  <a:cubicBezTo>
                    <a:pt x="1905565" y="223521"/>
                    <a:pt x="2288258" y="304800"/>
                    <a:pt x="2695787" y="447040"/>
                  </a:cubicBezTo>
                  <a:cubicBezTo>
                    <a:pt x="3103316" y="589280"/>
                    <a:pt x="3502378" y="795867"/>
                    <a:pt x="3901440" y="1002454"/>
                  </a:cubicBezTo>
                </a:path>
              </a:pathLst>
            </a:custGeom>
            <a:noFill/>
            <a:ln w="101600" cap="flat">
              <a:solidFill>
                <a:srgbClr val="FFC000">
                  <a:alpha val="50000"/>
                </a:srgbClr>
              </a:solidFill>
              <a:prstDash val="solid"/>
              <a:miter lim="800000"/>
              <a:tailEnd type="stealth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ja-JP" altLang="en-US" sz="1800" b="0" i="0" u="none" strike="noStrike" cap="none" spc="0" normalizeH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</a:endParaRPr>
            </a:p>
          </p:txBody>
        </p:sp>
        <p:sp>
          <p:nvSpPr>
            <p:cNvPr id="137" name="テキスト ボックス 136">
              <a:extLst>
                <a:ext uri="{FF2B5EF4-FFF2-40B4-BE49-F238E27FC236}">
                  <a16:creationId xmlns:a16="http://schemas.microsoft.com/office/drawing/2014/main" id="{873DD3A8-65A3-468C-A0E2-F1072F2F9FA3}"/>
                </a:ext>
              </a:extLst>
            </p:cNvPr>
            <p:cNvSpPr txBox="1"/>
            <p:nvPr/>
          </p:nvSpPr>
          <p:spPr>
            <a:xfrm>
              <a:off x="3904919" y="2901559"/>
              <a:ext cx="1339209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Transportation</a:t>
              </a:r>
              <a:endParaRPr kumimoji="0" lang="ja-JP" altLang="en-US" sz="1200" b="0" i="0" u="none" strike="noStrike" cap="none" spc="0" normalizeH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38" name="テキスト ボックス 137">
              <a:extLst>
                <a:ext uri="{FF2B5EF4-FFF2-40B4-BE49-F238E27FC236}">
                  <a16:creationId xmlns:a16="http://schemas.microsoft.com/office/drawing/2014/main" id="{DDBA646E-79F5-42F7-A518-CFD7685A05B4}"/>
                </a:ext>
              </a:extLst>
            </p:cNvPr>
            <p:cNvSpPr txBox="1"/>
            <p:nvPr/>
          </p:nvSpPr>
          <p:spPr>
            <a:xfrm>
              <a:off x="2663003" y="4997886"/>
              <a:ext cx="1339209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Node</a:t>
              </a:r>
              <a:endParaRPr kumimoji="0" lang="ja-JP" altLang="en-US" sz="1200" b="0" i="0" u="none" strike="noStrike" cap="none" spc="0" normalizeH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39" name="テキスト ボックス 138">
              <a:extLst>
                <a:ext uri="{FF2B5EF4-FFF2-40B4-BE49-F238E27FC236}">
                  <a16:creationId xmlns:a16="http://schemas.microsoft.com/office/drawing/2014/main" id="{4C6DD1B7-1EB6-4A28-B909-A7B4FAB2C803}"/>
                </a:ext>
              </a:extLst>
            </p:cNvPr>
            <p:cNvSpPr txBox="1"/>
            <p:nvPr/>
          </p:nvSpPr>
          <p:spPr>
            <a:xfrm>
              <a:off x="3694557" y="4565209"/>
              <a:ext cx="619502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Edge</a:t>
              </a:r>
              <a:endParaRPr kumimoji="0" lang="ja-JP" altLang="en-US" sz="1200" b="0" i="0" u="none" strike="noStrike" cap="none" spc="0" normalizeH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40" name="テキスト ボックス 139">
              <a:extLst>
                <a:ext uri="{FF2B5EF4-FFF2-40B4-BE49-F238E27FC236}">
                  <a16:creationId xmlns:a16="http://schemas.microsoft.com/office/drawing/2014/main" id="{CE8C0F04-E6F7-4EEC-8C92-8AB4D6BF8130}"/>
                </a:ext>
              </a:extLst>
            </p:cNvPr>
            <p:cNvSpPr txBox="1"/>
            <p:nvPr/>
          </p:nvSpPr>
          <p:spPr>
            <a:xfrm>
              <a:off x="6269871" y="2809456"/>
              <a:ext cx="1339209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dirty="0">
                  <a:solidFill>
                    <a:schemeClr val="bg2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Trip</a:t>
              </a:r>
              <a:endParaRPr kumimoji="0" lang="ja-JP" altLang="en-US" sz="1200" b="0" i="0" u="none" strike="noStrike" cap="none" spc="0" normalizeH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41" name="テキスト ボックス 140">
              <a:extLst>
                <a:ext uri="{FF2B5EF4-FFF2-40B4-BE49-F238E27FC236}">
                  <a16:creationId xmlns:a16="http://schemas.microsoft.com/office/drawing/2014/main" id="{A0623C76-0BF9-4E2B-95A1-3FE1629F7846}"/>
                </a:ext>
              </a:extLst>
            </p:cNvPr>
            <p:cNvSpPr txBox="1"/>
            <p:nvPr/>
          </p:nvSpPr>
          <p:spPr>
            <a:xfrm>
              <a:off x="9353894" y="3403933"/>
              <a:ext cx="732404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Leg</a:t>
              </a:r>
              <a:endParaRPr kumimoji="0" lang="ja-JP" altLang="en-US" sz="1200" b="0" i="0" u="none" strike="noStrike" cap="none" spc="0" normalizeH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42" name="テキスト ボックス 141">
              <a:extLst>
                <a:ext uri="{FF2B5EF4-FFF2-40B4-BE49-F238E27FC236}">
                  <a16:creationId xmlns:a16="http://schemas.microsoft.com/office/drawing/2014/main" id="{047FFE13-5DDF-4D3F-977E-EC2BC291954F}"/>
                </a:ext>
              </a:extLst>
            </p:cNvPr>
            <p:cNvSpPr txBox="1"/>
            <p:nvPr/>
          </p:nvSpPr>
          <p:spPr>
            <a:xfrm>
              <a:off x="1438786" y="5212249"/>
              <a:ext cx="1339209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Graph</a:t>
              </a:r>
              <a:endParaRPr kumimoji="0" lang="ja-JP" altLang="en-US" sz="1200" b="0" i="0" u="none" strike="noStrike" cap="none" spc="0" normalizeH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cxnSp>
          <p:nvCxnSpPr>
            <p:cNvPr id="144" name="直線コネクタ 143">
              <a:extLst>
                <a:ext uri="{FF2B5EF4-FFF2-40B4-BE49-F238E27FC236}">
                  <a16:creationId xmlns:a16="http://schemas.microsoft.com/office/drawing/2014/main" id="{009472E1-C5ED-4471-8BF9-E5F5AAC06ED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856927" y="2548884"/>
              <a:ext cx="188748" cy="183378"/>
            </a:xfrm>
            <a:prstGeom prst="line">
              <a:avLst/>
            </a:prstGeom>
            <a:noFill/>
            <a:ln w="6350" cap="flat">
              <a:solidFill>
                <a:schemeClr val="bg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6" name="直線コネクタ 145">
              <a:extLst>
                <a:ext uri="{FF2B5EF4-FFF2-40B4-BE49-F238E27FC236}">
                  <a16:creationId xmlns:a16="http://schemas.microsoft.com/office/drawing/2014/main" id="{C109C310-A1C4-4FE5-9A38-56CAA08F58F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507503" y="4553168"/>
              <a:ext cx="174917" cy="142274"/>
            </a:xfrm>
            <a:prstGeom prst="line">
              <a:avLst/>
            </a:prstGeom>
            <a:noFill/>
            <a:ln w="6350" cap="flat">
              <a:solidFill>
                <a:schemeClr val="bg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48" name="テキスト ボックス 147">
              <a:extLst>
                <a:ext uri="{FF2B5EF4-FFF2-40B4-BE49-F238E27FC236}">
                  <a16:creationId xmlns:a16="http://schemas.microsoft.com/office/drawing/2014/main" id="{926E0213-F495-43CB-9E33-EB1AB2E2326D}"/>
                </a:ext>
              </a:extLst>
            </p:cNvPr>
            <p:cNvSpPr txBox="1"/>
            <p:nvPr/>
          </p:nvSpPr>
          <p:spPr>
            <a:xfrm>
              <a:off x="8104402" y="2332892"/>
              <a:ext cx="1270237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dirty="0">
                  <a:solidFill>
                    <a:schemeClr val="bg2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Timetable</a:t>
              </a:r>
              <a:endParaRPr kumimoji="0" lang="ja-JP" altLang="en-US" sz="1200" b="0" i="0" u="none" strike="noStrike" cap="none" spc="0" normalizeH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grpSp>
          <p:nvGrpSpPr>
            <p:cNvPr id="153" name="グループ化 152">
              <a:extLst>
                <a:ext uri="{FF2B5EF4-FFF2-40B4-BE49-F238E27FC236}">
                  <a16:creationId xmlns:a16="http://schemas.microsoft.com/office/drawing/2014/main" id="{62DD451F-5731-4790-B009-028DFB475022}"/>
                </a:ext>
              </a:extLst>
            </p:cNvPr>
            <p:cNvGrpSpPr/>
            <p:nvPr/>
          </p:nvGrpSpPr>
          <p:grpSpPr>
            <a:xfrm>
              <a:off x="4653670" y="2302965"/>
              <a:ext cx="229092" cy="562381"/>
              <a:chOff x="5804644" y="1529089"/>
              <a:chExt cx="229092" cy="562381"/>
            </a:xfrm>
          </p:grpSpPr>
          <p:sp>
            <p:nvSpPr>
              <p:cNvPr id="91" name="正方形/長方形 90">
                <a:extLst>
                  <a:ext uri="{FF2B5EF4-FFF2-40B4-BE49-F238E27FC236}">
                    <a16:creationId xmlns:a16="http://schemas.microsoft.com/office/drawing/2014/main" id="{9A89B24F-88C2-420A-8755-415A288C53DC}"/>
                  </a:ext>
                </a:extLst>
              </p:cNvPr>
              <p:cNvSpPr/>
              <p:nvPr/>
            </p:nvSpPr>
            <p:spPr>
              <a:xfrm>
                <a:off x="5874545" y="1730102"/>
                <a:ext cx="159191" cy="361368"/>
              </a:xfrm>
              <a:prstGeom prst="rect">
                <a:avLst/>
              </a:prstGeom>
              <a:solidFill>
                <a:schemeClr val="accent4"/>
              </a:solidFill>
              <a:ln w="12700" cap="flat">
                <a:noFill/>
                <a:prstDash val="solid"/>
                <a:miter lim="800000"/>
              </a:ln>
              <a:effectLst/>
              <a:scene3d>
                <a:camera prst="isometricRightUp"/>
                <a:lightRig rig="threePt" dir="t"/>
              </a:scene3d>
              <a:sp3d extrusionH="127000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2" name="スマイル 151">
                <a:extLst>
                  <a:ext uri="{FF2B5EF4-FFF2-40B4-BE49-F238E27FC236}">
                    <a16:creationId xmlns:a16="http://schemas.microsoft.com/office/drawing/2014/main" id="{D5B81267-F4DD-466B-8B51-E423DDBA3040}"/>
                  </a:ext>
                </a:extLst>
              </p:cNvPr>
              <p:cNvSpPr/>
              <p:nvPr/>
            </p:nvSpPr>
            <p:spPr>
              <a:xfrm>
                <a:off x="5804644" y="1529089"/>
                <a:ext cx="226213" cy="226213"/>
              </a:xfrm>
              <a:prstGeom prst="smileyFac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cene3d>
                <a:camera prst="isometricOffAxis2Right">
                  <a:rot lat="975843" lon="19327133" rev="469125"/>
                </a:camera>
                <a:lightRig rig="threePt" dir="t"/>
              </a:scene3d>
              <a:sp3d extrusionH="69850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54" name="グループ化 153">
              <a:extLst>
                <a:ext uri="{FF2B5EF4-FFF2-40B4-BE49-F238E27FC236}">
                  <a16:creationId xmlns:a16="http://schemas.microsoft.com/office/drawing/2014/main" id="{1F63F7B7-BE65-40E7-B2E2-A27E9C3E392B}"/>
                </a:ext>
              </a:extLst>
            </p:cNvPr>
            <p:cNvGrpSpPr/>
            <p:nvPr/>
          </p:nvGrpSpPr>
          <p:grpSpPr>
            <a:xfrm>
              <a:off x="4215387" y="2227641"/>
              <a:ext cx="229092" cy="562381"/>
              <a:chOff x="5804644" y="1529089"/>
              <a:chExt cx="229092" cy="562381"/>
            </a:xfrm>
          </p:grpSpPr>
          <p:sp>
            <p:nvSpPr>
              <p:cNvPr id="155" name="正方形/長方形 154">
                <a:extLst>
                  <a:ext uri="{FF2B5EF4-FFF2-40B4-BE49-F238E27FC236}">
                    <a16:creationId xmlns:a16="http://schemas.microsoft.com/office/drawing/2014/main" id="{49C4A4BF-5E81-4387-BB89-0933A2846445}"/>
                  </a:ext>
                </a:extLst>
              </p:cNvPr>
              <p:cNvSpPr/>
              <p:nvPr/>
            </p:nvSpPr>
            <p:spPr>
              <a:xfrm>
                <a:off x="5874545" y="1730102"/>
                <a:ext cx="159191" cy="361368"/>
              </a:xfrm>
              <a:prstGeom prst="rect">
                <a:avLst/>
              </a:prstGeom>
              <a:solidFill>
                <a:schemeClr val="accent4"/>
              </a:solidFill>
              <a:ln w="12700" cap="flat">
                <a:noFill/>
                <a:prstDash val="solid"/>
                <a:miter lim="800000"/>
              </a:ln>
              <a:effectLst/>
              <a:scene3d>
                <a:camera prst="isometricRightUp"/>
                <a:lightRig rig="threePt" dir="t"/>
              </a:scene3d>
              <a:sp3d extrusionH="127000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6" name="スマイル 155">
                <a:extLst>
                  <a:ext uri="{FF2B5EF4-FFF2-40B4-BE49-F238E27FC236}">
                    <a16:creationId xmlns:a16="http://schemas.microsoft.com/office/drawing/2014/main" id="{D8C68982-163A-48EC-A465-2234BAC0AC03}"/>
                  </a:ext>
                </a:extLst>
              </p:cNvPr>
              <p:cNvSpPr/>
              <p:nvPr/>
            </p:nvSpPr>
            <p:spPr>
              <a:xfrm>
                <a:off x="5804644" y="1529089"/>
                <a:ext cx="226213" cy="226213"/>
              </a:xfrm>
              <a:prstGeom prst="smileyFac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cene3d>
                <a:camera prst="isometricOffAxis2Right">
                  <a:rot lat="975843" lon="19327133" rev="469125"/>
                </a:camera>
                <a:lightRig rig="threePt" dir="t"/>
              </a:scene3d>
              <a:sp3d extrusionH="69850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Helvetica" panose="020B0604020202020204" pitchFamily="34" charset="0"/>
                  <a:ea typeface="BIZ UDPゴシック" panose="020B0400000000000000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sp>
          <p:nvSpPr>
            <p:cNvPr id="136" name="テキスト ボックス 135">
              <a:extLst>
                <a:ext uri="{FF2B5EF4-FFF2-40B4-BE49-F238E27FC236}">
                  <a16:creationId xmlns:a16="http://schemas.microsoft.com/office/drawing/2014/main" id="{917E80EF-9D1F-4863-9CA5-323C13E2BF2E}"/>
                </a:ext>
              </a:extLst>
            </p:cNvPr>
            <p:cNvSpPr txBox="1"/>
            <p:nvPr/>
          </p:nvSpPr>
          <p:spPr>
            <a:xfrm>
              <a:off x="4304934" y="2503597"/>
              <a:ext cx="646055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Helvetica" panose="020B0604020202020204" pitchFamily="34" charset="0"/>
                  <a:ea typeface="BIZ UDPゴシック" panose="020B0400000000000000" pitchFamily="50" charset="-128"/>
                  <a:cs typeface="游ゴシック"/>
                  <a:sym typeface="游ゴシック"/>
                </a:rPr>
                <a:t>Load</a:t>
              </a:r>
              <a:endParaRPr kumimoji="0" lang="ja-JP" altLang="en-US" sz="1200" b="0" i="0" u="none" strike="noStrike" cap="none" spc="0" normalizeH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endParaRPr>
            </a:p>
          </p:txBody>
        </p:sp>
        <p:cxnSp>
          <p:nvCxnSpPr>
            <p:cNvPr id="157" name="直線コネクタ 156">
              <a:extLst>
                <a:ext uri="{FF2B5EF4-FFF2-40B4-BE49-F238E27FC236}">
                  <a16:creationId xmlns:a16="http://schemas.microsoft.com/office/drawing/2014/main" id="{A26EC625-1F72-4DA5-BA16-2183CD3279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25827" y="3562049"/>
              <a:ext cx="252646" cy="109088"/>
            </a:xfrm>
            <a:prstGeom prst="line">
              <a:avLst/>
            </a:prstGeom>
            <a:noFill/>
            <a:ln w="6350" cap="flat">
              <a:solidFill>
                <a:schemeClr val="bg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212681353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BDEEE0F7-FE4E-0F4D-9A3A-472437D7FC8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035549" y="6632696"/>
            <a:ext cx="156451" cy="230832"/>
          </a:xfrm>
        </p:spPr>
        <p:txBody>
          <a:bodyPr/>
          <a:lstStyle/>
          <a:p>
            <a:fld id="{86CB4B4D-7CA3-9044-876B-883B54F8677D}" type="slidenum">
              <a:rPr lang="en-US" altLang="ja-JP" smtClean="0">
                <a:ea typeface="BIZ UDPゴシック" panose="020B0400000000000000" pitchFamily="50" charset="-128"/>
              </a:rPr>
              <a:pPr/>
              <a:t>5</a:t>
            </a:fld>
            <a:endParaRPr lang="en-US" altLang="ja-JP">
              <a:ea typeface="BIZ UDPゴシック" panose="020B0400000000000000" pitchFamily="50" charset="-128"/>
            </a:endParaRP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66AD9DE4-14CE-A044-805F-D963D541E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>
                <a:ea typeface="BIZ UDPゴシック" panose="020B0400000000000000" pitchFamily="50" charset="-128"/>
              </a:rPr>
              <a:t>データ連携基盤について</a:t>
            </a:r>
            <a:endParaRPr kumimoji="1" lang="ja-JP" altLang="en-US" dirty="0">
              <a:ea typeface="BIZ UDPゴシック" panose="020B0400000000000000" pitchFamily="50" charset="-128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B7888253-B6A9-B649-882F-3BD28464A3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ja-JP" altLang="en-US" dirty="0">
                <a:ea typeface="BIZ UDPゴシック" panose="020B0400000000000000" pitchFamily="50" charset="-128"/>
              </a:rPr>
              <a:t>データ連携基盤内の処理の流れ</a:t>
            </a:r>
            <a:endParaRPr kumimoji="1" lang="ja-JP" altLang="en-US" dirty="0">
              <a:ea typeface="BIZ UDPゴシック" panose="020B0400000000000000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B8A7E6A-AA2B-4723-B326-C2D41868BD21}"/>
              </a:ext>
            </a:extLst>
          </p:cNvPr>
          <p:cNvSpPr txBox="1"/>
          <p:nvPr/>
        </p:nvSpPr>
        <p:spPr>
          <a:xfrm>
            <a:off x="423337" y="1390153"/>
            <a:ext cx="6356754" cy="28623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ja-JP" altLang="en-US" sz="18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データ連携基盤はお客様から頂いたデータを共通データフォーマットに変換し、蓄積・出力するシステムです。</a:t>
            </a:r>
            <a:endParaRPr kumimoji="0" lang="en-US" altLang="ja-JP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latin typeface="Helvetica" panose="020B0604020202020204" pitchFamily="34" charset="0"/>
              <a:ea typeface="BIZ UDPゴシック" panose="020B0400000000000000" pitchFamily="50" charset="-128"/>
              <a:cs typeface="游ゴシック"/>
              <a:sym typeface="游ゴシック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ja-JP" dirty="0">
              <a:solidFill>
                <a:srgbClr val="221714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游ゴシック"/>
              <a:sym typeface="游ゴシック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ja-JP" altLang="en-US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データ処理の流れは次の通りです。</a:t>
            </a:r>
            <a:endParaRPr kumimoji="0" lang="en-US" altLang="ja-JP" dirty="0">
              <a:solidFill>
                <a:srgbClr val="221714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游ゴシック"/>
              <a:sym typeface="游ゴシック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ja-JP" dirty="0">
              <a:solidFill>
                <a:srgbClr val="221714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游ゴシック"/>
              <a:sym typeface="游ゴシック"/>
            </a:endParaRPr>
          </a:p>
          <a:p>
            <a:pPr marL="342900" marR="0" indent="-3429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ja-JP" altLang="en-US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お客様から頂いたデータを</a:t>
            </a:r>
            <a:r>
              <a:rPr kumimoji="0" lang="en-US" altLang="ja-JP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raw store</a:t>
            </a:r>
            <a:r>
              <a:rPr kumimoji="0" lang="ja-JP" altLang="en-US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に格納する。</a:t>
            </a:r>
            <a:endParaRPr kumimoji="0" lang="en-US" altLang="ja-JP" dirty="0">
              <a:solidFill>
                <a:srgbClr val="221714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游ゴシック"/>
              <a:sym typeface="游ゴシック"/>
            </a:endParaRPr>
          </a:p>
          <a:p>
            <a:pPr marL="342900" marR="0" indent="-3429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ja-JP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raw store</a:t>
            </a:r>
            <a:r>
              <a:rPr kumimoji="0" lang="ja-JP" altLang="en-US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のデータを</a:t>
            </a:r>
            <a:r>
              <a:rPr kumimoji="0" lang="ja-JP" altLang="en-US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共通フォーマットに</a:t>
            </a:r>
            <a:r>
              <a:rPr kumimoji="0" lang="ja-JP" altLang="en-US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変換し、</a:t>
            </a:r>
            <a:br>
              <a:rPr kumimoji="0" lang="en-US" altLang="ja-JP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</a:br>
            <a:r>
              <a:rPr kumimoji="0" lang="en-US" altLang="ja-JP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common</a:t>
            </a:r>
            <a:r>
              <a:rPr kumimoji="0" lang="ja-JP" altLang="en-US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 </a:t>
            </a:r>
            <a:r>
              <a:rPr kumimoji="0" lang="en-US" altLang="ja-JP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store</a:t>
            </a:r>
            <a:r>
              <a:rPr kumimoji="0" lang="ja-JP" altLang="en-US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に格納する。</a:t>
            </a:r>
            <a:endParaRPr kumimoji="0" lang="en-US" altLang="ja-JP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latin typeface="Helvetica" panose="020B0604020202020204" pitchFamily="34" charset="0"/>
              <a:ea typeface="BIZ UDPゴシック" panose="020B0400000000000000" pitchFamily="50" charset="-128"/>
              <a:cs typeface="游ゴシック"/>
              <a:sym typeface="游ゴシック"/>
            </a:endParaRPr>
          </a:p>
          <a:p>
            <a:pPr marL="342900" marR="0" indent="-3429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ja-JP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common store</a:t>
            </a:r>
            <a:r>
              <a:rPr kumimoji="0" lang="ja-JP" altLang="en-US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のデータを集計し、</a:t>
            </a:r>
            <a:r>
              <a:rPr kumimoji="0" lang="en-US" altLang="ja-JP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mart store</a:t>
            </a:r>
            <a:r>
              <a:rPr kumimoji="0" lang="ja-JP" altLang="en-US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に格納する。</a:t>
            </a:r>
            <a:endParaRPr kumimoji="0" lang="en-US" altLang="ja-JP" dirty="0">
              <a:solidFill>
                <a:srgbClr val="221714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游ゴシック"/>
              <a:sym typeface="游ゴシック"/>
            </a:endParaRPr>
          </a:p>
          <a:p>
            <a:pPr marL="342900" marR="0" indent="-3429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ja-JP" altLang="en-US" dirty="0">
                <a:solidFill>
                  <a:srgbClr val="221714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游ゴシック"/>
                <a:sym typeface="游ゴシック"/>
              </a:rPr>
              <a:t>ダッシュボードに表示する。</a:t>
            </a:r>
            <a:endParaRPr kumimoji="0" lang="en-US" altLang="ja-JP" dirty="0">
              <a:solidFill>
                <a:srgbClr val="221714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游ゴシック"/>
              <a:sym typeface="游ゴシック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C14067E-BB36-4A74-9802-8F66C8A781B0}"/>
              </a:ext>
            </a:extLst>
          </p:cNvPr>
          <p:cNvSpPr txBox="1"/>
          <p:nvPr/>
        </p:nvSpPr>
        <p:spPr>
          <a:xfrm>
            <a:off x="0" y="7383000"/>
            <a:ext cx="17198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>
                <a:ea typeface="BIZ UDPゴシック" panose="020B0400000000000000" pitchFamily="50" charset="-128"/>
              </a:rPr>
              <a:t>Raw Data</a:t>
            </a:r>
            <a:endParaRPr kumimoji="1" lang="ja-JP" altLang="en-US" sz="1400" dirty="0">
              <a:ea typeface="BIZ UDPゴシック" panose="020B0400000000000000" pitchFamily="50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E64F436B-E885-4331-95E3-78675F6EEE0C}"/>
              </a:ext>
            </a:extLst>
          </p:cNvPr>
          <p:cNvSpPr txBox="1"/>
          <p:nvPr/>
        </p:nvSpPr>
        <p:spPr>
          <a:xfrm>
            <a:off x="2622022" y="7383000"/>
            <a:ext cx="14678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400" dirty="0" err="1">
                <a:ea typeface="BIZ UDPゴシック" panose="020B0400000000000000" pitchFamily="50" charset="-128"/>
              </a:rPr>
              <a:t>rawstore</a:t>
            </a:r>
            <a:endParaRPr kumimoji="1" lang="ja-JP" altLang="en-US" sz="1400" dirty="0">
              <a:ea typeface="BIZ UDPゴシック" panose="020B04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4DAB9F9-FA23-4B2A-846B-5D6035D92AF9}"/>
              </a:ext>
            </a:extLst>
          </p:cNvPr>
          <p:cNvSpPr txBox="1"/>
          <p:nvPr/>
        </p:nvSpPr>
        <p:spPr>
          <a:xfrm>
            <a:off x="5615534" y="7383000"/>
            <a:ext cx="21434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400" dirty="0" err="1">
                <a:ea typeface="BIZ UDPゴシック" panose="020B0400000000000000" pitchFamily="50" charset="-128"/>
              </a:rPr>
              <a:t>martstore</a:t>
            </a:r>
            <a:endParaRPr kumimoji="1" lang="en-US" altLang="ja-JP" sz="1400" dirty="0">
              <a:ea typeface="BIZ UDPゴシック" panose="020B0400000000000000" pitchFamily="50" charset="-128"/>
            </a:endParaRPr>
          </a:p>
        </p:txBody>
      </p:sp>
      <p:grpSp>
        <p:nvGrpSpPr>
          <p:cNvPr id="72" name="グループ化 71">
            <a:extLst>
              <a:ext uri="{FF2B5EF4-FFF2-40B4-BE49-F238E27FC236}">
                <a16:creationId xmlns:a16="http://schemas.microsoft.com/office/drawing/2014/main" id="{E66A498C-AB1E-4F22-8E81-16BAE6920FD5}"/>
              </a:ext>
            </a:extLst>
          </p:cNvPr>
          <p:cNvGrpSpPr/>
          <p:nvPr/>
        </p:nvGrpSpPr>
        <p:grpSpPr>
          <a:xfrm>
            <a:off x="6939073" y="530534"/>
            <a:ext cx="4454301" cy="6197477"/>
            <a:chOff x="7649194" y="530534"/>
            <a:chExt cx="4454301" cy="6197477"/>
          </a:xfrm>
        </p:grpSpPr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399AEA4E-8A30-4E72-9597-DE27745D9F88}"/>
                </a:ext>
              </a:extLst>
            </p:cNvPr>
            <p:cNvSpPr txBox="1"/>
            <p:nvPr/>
          </p:nvSpPr>
          <p:spPr>
            <a:xfrm>
              <a:off x="7864728" y="2299539"/>
              <a:ext cx="12914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ja-JP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raw store</a:t>
              </a:r>
            </a:p>
          </p:txBody>
        </p:sp>
        <p:sp>
          <p:nvSpPr>
            <p:cNvPr id="30" name="テキスト ボックス 29">
              <a:extLst>
                <a:ext uri="{FF2B5EF4-FFF2-40B4-BE49-F238E27FC236}">
                  <a16:creationId xmlns:a16="http://schemas.microsoft.com/office/drawing/2014/main" id="{A32ED1F9-F4FA-43AE-AC53-36A102BBDAA6}"/>
                </a:ext>
              </a:extLst>
            </p:cNvPr>
            <p:cNvSpPr txBox="1"/>
            <p:nvPr/>
          </p:nvSpPr>
          <p:spPr>
            <a:xfrm>
              <a:off x="7649194" y="3490229"/>
              <a:ext cx="15069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ja-JP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common store</a:t>
              </a:r>
            </a:p>
          </p:txBody>
        </p:sp>
        <p:sp>
          <p:nvSpPr>
            <p:cNvPr id="31" name="テキスト ボックス 30">
              <a:extLst>
                <a:ext uri="{FF2B5EF4-FFF2-40B4-BE49-F238E27FC236}">
                  <a16:creationId xmlns:a16="http://schemas.microsoft.com/office/drawing/2014/main" id="{F3524AE5-3D22-49DB-9214-1C23B91B2F6C}"/>
                </a:ext>
              </a:extLst>
            </p:cNvPr>
            <p:cNvSpPr txBox="1"/>
            <p:nvPr/>
          </p:nvSpPr>
          <p:spPr>
            <a:xfrm>
              <a:off x="7649194" y="4693288"/>
              <a:ext cx="15069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ja-JP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mart store</a:t>
              </a:r>
            </a:p>
          </p:txBody>
        </p:sp>
        <p:pic>
          <p:nvPicPr>
            <p:cNvPr id="34" name="図 33" descr="図形&#10;&#10;低い精度で自動的に生成された説明">
              <a:extLst>
                <a:ext uri="{FF2B5EF4-FFF2-40B4-BE49-F238E27FC236}">
                  <a16:creationId xmlns:a16="http://schemas.microsoft.com/office/drawing/2014/main" id="{CD95BCC0-1306-468D-A851-EA265B357E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4623" y="530534"/>
              <a:ext cx="865729" cy="865729"/>
            </a:xfrm>
            <a:prstGeom prst="rect">
              <a:avLst/>
            </a:prstGeom>
          </p:spPr>
        </p:pic>
        <p:pic>
          <p:nvPicPr>
            <p:cNvPr id="35" name="図 34" descr="図形&#10;&#10;低い精度で自動的に生成された説明">
              <a:extLst>
                <a:ext uri="{FF2B5EF4-FFF2-40B4-BE49-F238E27FC236}">
                  <a16:creationId xmlns:a16="http://schemas.microsoft.com/office/drawing/2014/main" id="{B118F677-467F-4ABA-A0C9-116881FE7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06370" y="530534"/>
              <a:ext cx="865729" cy="865729"/>
            </a:xfrm>
            <a:prstGeom prst="rect">
              <a:avLst/>
            </a:prstGeom>
          </p:spPr>
        </p:pic>
        <p:pic>
          <p:nvPicPr>
            <p:cNvPr id="36" name="図 35" descr="図形&#10;&#10;低い精度で自動的に生成された説明">
              <a:extLst>
                <a:ext uri="{FF2B5EF4-FFF2-40B4-BE49-F238E27FC236}">
                  <a16:creationId xmlns:a16="http://schemas.microsoft.com/office/drawing/2014/main" id="{3BC07012-7AD0-4907-90E7-707655A25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8115" y="530534"/>
              <a:ext cx="865729" cy="865729"/>
            </a:xfrm>
            <a:prstGeom prst="rect">
              <a:avLst/>
            </a:prstGeom>
          </p:spPr>
        </p:pic>
        <p:pic>
          <p:nvPicPr>
            <p:cNvPr id="38" name="図 37" descr="カップ, マグカップ が含まれている画像&#10;&#10;自動的に生成された説明">
              <a:extLst>
                <a:ext uri="{FF2B5EF4-FFF2-40B4-BE49-F238E27FC236}">
                  <a16:creationId xmlns:a16="http://schemas.microsoft.com/office/drawing/2014/main" id="{C7A7F554-D95C-4E72-A93D-1CAA6921A6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94844" y="1884181"/>
              <a:ext cx="1509745" cy="1132309"/>
            </a:xfrm>
            <a:prstGeom prst="rect">
              <a:avLst/>
            </a:prstGeom>
          </p:spPr>
        </p:pic>
        <p:pic>
          <p:nvPicPr>
            <p:cNvPr id="39" name="図 38" descr="カップ, マグカップ が含まれている画像&#10;&#10;自動的に生成された説明">
              <a:extLst>
                <a:ext uri="{FF2B5EF4-FFF2-40B4-BE49-F238E27FC236}">
                  <a16:creationId xmlns:a16="http://schemas.microsoft.com/office/drawing/2014/main" id="{36A5D73C-79C3-4D39-B872-34559D7EEB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94843" y="3081055"/>
              <a:ext cx="1509745" cy="1132309"/>
            </a:xfrm>
            <a:prstGeom prst="rect">
              <a:avLst/>
            </a:prstGeom>
          </p:spPr>
        </p:pic>
        <p:pic>
          <p:nvPicPr>
            <p:cNvPr id="40" name="図 39" descr="カップ, マグカップ が含まれている画像&#10;&#10;自動的に生成された説明">
              <a:extLst>
                <a:ext uri="{FF2B5EF4-FFF2-40B4-BE49-F238E27FC236}">
                  <a16:creationId xmlns:a16="http://schemas.microsoft.com/office/drawing/2014/main" id="{B4F11787-9C7B-4E77-8A1A-D29D9DC87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94842" y="4277930"/>
              <a:ext cx="1509745" cy="1132309"/>
            </a:xfrm>
            <a:prstGeom prst="rect">
              <a:avLst/>
            </a:prstGeom>
          </p:spPr>
        </p:pic>
        <p:pic>
          <p:nvPicPr>
            <p:cNvPr id="42" name="図 41" descr="図形&#10;&#10;低い精度で自動的に生成された説明">
              <a:extLst>
                <a:ext uri="{FF2B5EF4-FFF2-40B4-BE49-F238E27FC236}">
                  <a16:creationId xmlns:a16="http://schemas.microsoft.com/office/drawing/2014/main" id="{0AFC5508-D147-497A-B7C5-415554B3DD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3110" y="5474804"/>
              <a:ext cx="1253207" cy="1253207"/>
            </a:xfrm>
            <a:prstGeom prst="rect">
              <a:avLst/>
            </a:prstGeom>
          </p:spPr>
        </p:pic>
        <p:pic>
          <p:nvPicPr>
            <p:cNvPr id="44" name="図 43" descr="図形&#10;&#10;低い精度で自動的に生成された説明">
              <a:extLst>
                <a:ext uri="{FF2B5EF4-FFF2-40B4-BE49-F238E27FC236}">
                  <a16:creationId xmlns:a16="http://schemas.microsoft.com/office/drawing/2014/main" id="{7159E015-FEF1-4601-8473-CB9F604051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7501" y="2630882"/>
              <a:ext cx="744798" cy="744798"/>
            </a:xfrm>
            <a:prstGeom prst="rect">
              <a:avLst/>
            </a:prstGeom>
          </p:spPr>
        </p:pic>
        <p:pic>
          <p:nvPicPr>
            <p:cNvPr id="45" name="図 44" descr="図形&#10;&#10;低い精度で自動的に生成された説明">
              <a:extLst>
                <a:ext uri="{FF2B5EF4-FFF2-40B4-BE49-F238E27FC236}">
                  <a16:creationId xmlns:a16="http://schemas.microsoft.com/office/drawing/2014/main" id="{FA4B9B06-4705-4097-B1B4-E3D35DB4D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7501" y="3999228"/>
              <a:ext cx="744798" cy="744798"/>
            </a:xfrm>
            <a:prstGeom prst="rect">
              <a:avLst/>
            </a:prstGeom>
          </p:spPr>
        </p:pic>
        <p:pic>
          <p:nvPicPr>
            <p:cNvPr id="47" name="図 46" descr="図形&#10;&#10;低い精度で自動的に生成された説明">
              <a:extLst>
                <a:ext uri="{FF2B5EF4-FFF2-40B4-BE49-F238E27FC236}">
                  <a16:creationId xmlns:a16="http://schemas.microsoft.com/office/drawing/2014/main" id="{F23EFD22-00D1-4DD0-88FC-1A851FA3CA8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4011" y="5811954"/>
              <a:ext cx="398872" cy="398872"/>
            </a:xfrm>
            <a:prstGeom prst="rect">
              <a:avLst/>
            </a:prstGeom>
          </p:spPr>
        </p:pic>
        <p:pic>
          <p:nvPicPr>
            <p:cNvPr id="48" name="図 47" descr="図形&#10;&#10;低い精度で自動的に生成された説明">
              <a:extLst>
                <a:ext uri="{FF2B5EF4-FFF2-40B4-BE49-F238E27FC236}">
                  <a16:creationId xmlns:a16="http://schemas.microsoft.com/office/drawing/2014/main" id="{43833E0E-F5E2-4024-ADC3-85C803363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49713" y="5811954"/>
              <a:ext cx="398872" cy="398872"/>
            </a:xfrm>
            <a:prstGeom prst="rect">
              <a:avLst/>
            </a:prstGeom>
          </p:spPr>
        </p:pic>
        <p:sp>
          <p:nvSpPr>
            <p:cNvPr id="49" name="矢印: 左カーブ 48">
              <a:extLst>
                <a:ext uri="{FF2B5EF4-FFF2-40B4-BE49-F238E27FC236}">
                  <a16:creationId xmlns:a16="http://schemas.microsoft.com/office/drawing/2014/main" id="{81C19D28-A266-4345-969C-82E78AB21190}"/>
                </a:ext>
              </a:extLst>
            </p:cNvPr>
            <p:cNvSpPr/>
            <p:nvPr/>
          </p:nvSpPr>
          <p:spPr>
            <a:xfrm>
              <a:off x="10252295" y="2654710"/>
              <a:ext cx="413614" cy="910766"/>
            </a:xfrm>
            <a:prstGeom prst="curvedLeftArrow">
              <a:avLst/>
            </a:prstGeom>
            <a:solidFill>
              <a:schemeClr val="tx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51" name="矢印: 左カーブ 50">
              <a:extLst>
                <a:ext uri="{FF2B5EF4-FFF2-40B4-BE49-F238E27FC236}">
                  <a16:creationId xmlns:a16="http://schemas.microsoft.com/office/drawing/2014/main" id="{634DE3D6-1B19-4548-9B20-C32EFD0CF62B}"/>
                </a:ext>
              </a:extLst>
            </p:cNvPr>
            <p:cNvSpPr/>
            <p:nvPr/>
          </p:nvSpPr>
          <p:spPr>
            <a:xfrm>
              <a:off x="10243180" y="3846844"/>
              <a:ext cx="413614" cy="897182"/>
            </a:xfrm>
            <a:prstGeom prst="curvedLeftArrow">
              <a:avLst/>
            </a:prstGeom>
            <a:solidFill>
              <a:schemeClr val="tx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52" name="テキスト ボックス 51">
              <a:extLst>
                <a:ext uri="{FF2B5EF4-FFF2-40B4-BE49-F238E27FC236}">
                  <a16:creationId xmlns:a16="http://schemas.microsoft.com/office/drawing/2014/main" id="{1E21D1B5-01EC-42D4-952B-C1F29D2584B9}"/>
                </a:ext>
              </a:extLst>
            </p:cNvPr>
            <p:cNvSpPr txBox="1"/>
            <p:nvPr/>
          </p:nvSpPr>
          <p:spPr>
            <a:xfrm>
              <a:off x="7941784" y="1142324"/>
              <a:ext cx="129140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ja-JP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Structure data</a:t>
              </a:r>
            </a:p>
          </p:txBody>
        </p:sp>
        <p:sp>
          <p:nvSpPr>
            <p:cNvPr id="53" name="テキスト ボックス 52">
              <a:extLst>
                <a:ext uri="{FF2B5EF4-FFF2-40B4-BE49-F238E27FC236}">
                  <a16:creationId xmlns:a16="http://schemas.microsoft.com/office/drawing/2014/main" id="{0DCE7F5A-F8F5-465A-8E3B-69E63DB41004}"/>
                </a:ext>
              </a:extLst>
            </p:cNvPr>
            <p:cNvSpPr txBox="1"/>
            <p:nvPr/>
          </p:nvSpPr>
          <p:spPr>
            <a:xfrm>
              <a:off x="9093531" y="1142324"/>
              <a:ext cx="129140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ja-JP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Schedule</a:t>
              </a:r>
            </a:p>
            <a:p>
              <a:pPr algn="ctr"/>
              <a:r>
                <a:rPr lang="en-US" altLang="ja-JP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data</a:t>
              </a:r>
            </a:p>
          </p:txBody>
        </p:sp>
        <p:sp>
          <p:nvSpPr>
            <p:cNvPr id="58" name="テキスト ボックス 57">
              <a:extLst>
                <a:ext uri="{FF2B5EF4-FFF2-40B4-BE49-F238E27FC236}">
                  <a16:creationId xmlns:a16="http://schemas.microsoft.com/office/drawing/2014/main" id="{5F37AAAC-3E7F-4331-AA69-5F385C845FA6}"/>
                </a:ext>
              </a:extLst>
            </p:cNvPr>
            <p:cNvSpPr txBox="1"/>
            <p:nvPr/>
          </p:nvSpPr>
          <p:spPr>
            <a:xfrm>
              <a:off x="10238838" y="1142324"/>
              <a:ext cx="143450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ja-JP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Transaction data</a:t>
              </a:r>
            </a:p>
          </p:txBody>
        </p:sp>
        <p:sp>
          <p:nvSpPr>
            <p:cNvPr id="59" name="テキスト ボックス 58">
              <a:extLst>
                <a:ext uri="{FF2B5EF4-FFF2-40B4-BE49-F238E27FC236}">
                  <a16:creationId xmlns:a16="http://schemas.microsoft.com/office/drawing/2014/main" id="{E00C2467-86BE-4AC3-A59B-BFA7ABFC184D}"/>
                </a:ext>
              </a:extLst>
            </p:cNvPr>
            <p:cNvSpPr txBox="1"/>
            <p:nvPr/>
          </p:nvSpPr>
          <p:spPr>
            <a:xfrm>
              <a:off x="11286063" y="2862601"/>
              <a:ext cx="8174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JP" altLang="en-US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変換</a:t>
              </a:r>
              <a:endParaRPr lang="en-US" altLang="ja-JP" sz="1400" dirty="0">
                <a:latin typeface="Helvetica" panose="020B0604020202020204" pitchFamily="34" charset="0"/>
                <a:ea typeface="BIZ UDPゴシック" panose="020B0400000000000000" pitchFamily="50" charset="-128"/>
              </a:endParaRPr>
            </a:p>
          </p:txBody>
        </p:sp>
        <p:sp>
          <p:nvSpPr>
            <p:cNvPr id="60" name="テキスト ボックス 59">
              <a:extLst>
                <a:ext uri="{FF2B5EF4-FFF2-40B4-BE49-F238E27FC236}">
                  <a16:creationId xmlns:a16="http://schemas.microsoft.com/office/drawing/2014/main" id="{C5FF9558-1B14-4A51-981A-275EEF432183}"/>
                </a:ext>
              </a:extLst>
            </p:cNvPr>
            <p:cNvSpPr txBox="1"/>
            <p:nvPr/>
          </p:nvSpPr>
          <p:spPr>
            <a:xfrm>
              <a:off x="11286063" y="4213364"/>
              <a:ext cx="8174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JP" altLang="en-US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集計</a:t>
              </a:r>
              <a:endParaRPr lang="en-US" altLang="ja-JP" sz="1400" dirty="0">
                <a:latin typeface="Helvetica" panose="020B0604020202020204" pitchFamily="34" charset="0"/>
                <a:ea typeface="BIZ UDPゴシック" panose="020B0400000000000000" pitchFamily="50" charset="-128"/>
              </a:endParaRPr>
            </a:p>
          </p:txBody>
        </p:sp>
        <p:sp>
          <p:nvSpPr>
            <p:cNvPr id="61" name="矢印: 左カーブ 60">
              <a:extLst>
                <a:ext uri="{FF2B5EF4-FFF2-40B4-BE49-F238E27FC236}">
                  <a16:creationId xmlns:a16="http://schemas.microsoft.com/office/drawing/2014/main" id="{CE7B3E1F-5A72-4D31-96FB-4E68BE3EA5DA}"/>
                </a:ext>
              </a:extLst>
            </p:cNvPr>
            <p:cNvSpPr/>
            <p:nvPr/>
          </p:nvSpPr>
          <p:spPr>
            <a:xfrm>
              <a:off x="10243180" y="5050485"/>
              <a:ext cx="413614" cy="897182"/>
            </a:xfrm>
            <a:prstGeom prst="curvedLeftArrow">
              <a:avLst/>
            </a:prstGeom>
            <a:solidFill>
              <a:schemeClr val="tx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67" name="吹き出し: 右矢印 66">
              <a:extLst>
                <a:ext uri="{FF2B5EF4-FFF2-40B4-BE49-F238E27FC236}">
                  <a16:creationId xmlns:a16="http://schemas.microsoft.com/office/drawing/2014/main" id="{9CC1B052-68A5-4647-B03D-D908875B359E}"/>
                </a:ext>
              </a:extLst>
            </p:cNvPr>
            <p:cNvSpPr/>
            <p:nvPr/>
          </p:nvSpPr>
          <p:spPr>
            <a:xfrm rot="5400000">
              <a:off x="9011421" y="-589275"/>
              <a:ext cx="1476585" cy="3847254"/>
            </a:xfrm>
            <a:prstGeom prst="rightArrowCallout">
              <a:avLst>
                <a:gd name="adj1" fmla="val 16811"/>
                <a:gd name="adj2" fmla="val 20251"/>
                <a:gd name="adj3" fmla="val 15402"/>
                <a:gd name="adj4" fmla="val 75650"/>
              </a:avLst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Helvetica" panose="020B0604020202020204" pitchFamily="34" charset="0"/>
                <a:ea typeface="BIZ UDPゴシック" panose="020B0400000000000000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69" name="テキスト ボックス 68">
              <a:extLst>
                <a:ext uri="{FF2B5EF4-FFF2-40B4-BE49-F238E27FC236}">
                  <a16:creationId xmlns:a16="http://schemas.microsoft.com/office/drawing/2014/main" id="{7B9B94F8-5E86-4A9F-8CF3-5D9DCB9514EC}"/>
                </a:ext>
              </a:extLst>
            </p:cNvPr>
            <p:cNvSpPr txBox="1"/>
            <p:nvPr/>
          </p:nvSpPr>
          <p:spPr>
            <a:xfrm>
              <a:off x="11286063" y="5320915"/>
              <a:ext cx="8174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JP" altLang="en-US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表示</a:t>
              </a:r>
              <a:endParaRPr lang="en-US" altLang="ja-JP" sz="1400" dirty="0">
                <a:latin typeface="Helvetica" panose="020B0604020202020204" pitchFamily="34" charset="0"/>
                <a:ea typeface="BIZ UDPゴシック" panose="020B0400000000000000" pitchFamily="50" charset="-128"/>
              </a:endParaRPr>
            </a:p>
          </p:txBody>
        </p:sp>
        <p:pic>
          <p:nvPicPr>
            <p:cNvPr id="70" name="図 69" descr="図形&#10;&#10;低い精度で自動的に生成された説明">
              <a:extLst>
                <a:ext uri="{FF2B5EF4-FFF2-40B4-BE49-F238E27FC236}">
                  <a16:creationId xmlns:a16="http://schemas.microsoft.com/office/drawing/2014/main" id="{A301F0DF-A8C3-495C-8ED0-42A3ECC46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7501" y="5102404"/>
              <a:ext cx="744798" cy="744798"/>
            </a:xfrm>
            <a:prstGeom prst="rect">
              <a:avLst/>
            </a:prstGeom>
          </p:spPr>
        </p:pic>
        <p:sp>
          <p:nvSpPr>
            <p:cNvPr id="71" name="テキスト ボックス 70">
              <a:extLst>
                <a:ext uri="{FF2B5EF4-FFF2-40B4-BE49-F238E27FC236}">
                  <a16:creationId xmlns:a16="http://schemas.microsoft.com/office/drawing/2014/main" id="{6B51DAA8-E100-44CD-A760-5787ECC98C7E}"/>
                </a:ext>
              </a:extLst>
            </p:cNvPr>
            <p:cNvSpPr txBox="1"/>
            <p:nvPr/>
          </p:nvSpPr>
          <p:spPr>
            <a:xfrm>
              <a:off x="7649194" y="5887806"/>
              <a:ext cx="15069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ja-JP" altLang="en-US" sz="1400" dirty="0">
                  <a:latin typeface="Helvetica" panose="020B0604020202020204" pitchFamily="34" charset="0"/>
                  <a:ea typeface="BIZ UDPゴシック" panose="020B0400000000000000" pitchFamily="50" charset="-128"/>
                </a:rPr>
                <a:t>ダッシュボード</a:t>
              </a:r>
              <a:endParaRPr lang="en-US" altLang="ja-JP" sz="1400" dirty="0">
                <a:latin typeface="Helvetica" panose="020B0604020202020204" pitchFamily="34" charset="0"/>
                <a:ea typeface="BIZ UDPゴシック" panose="020B0400000000000000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847047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フリーフォーム: 図形 20">
            <a:extLst>
              <a:ext uri="{FF2B5EF4-FFF2-40B4-BE49-F238E27FC236}">
                <a16:creationId xmlns:a16="http://schemas.microsoft.com/office/drawing/2014/main" id="{AE3FD2EC-50DF-4904-895C-314A44DFDE62}"/>
              </a:ext>
            </a:extLst>
          </p:cNvPr>
          <p:cNvSpPr/>
          <p:nvPr/>
        </p:nvSpPr>
        <p:spPr>
          <a:xfrm>
            <a:off x="7446616" y="1090166"/>
            <a:ext cx="1854042" cy="5053206"/>
          </a:xfrm>
          <a:custGeom>
            <a:avLst/>
            <a:gdLst>
              <a:gd name="connsiteX0" fmla="*/ 1242061 w 1854042"/>
              <a:gd name="connsiteY0" fmla="*/ 1488165 h 5053206"/>
              <a:gd name="connsiteX1" fmla="*/ 1492674 w 1854042"/>
              <a:gd name="connsiteY1" fmla="*/ 817605 h 5053206"/>
              <a:gd name="connsiteX2" fmla="*/ 1587501 w 1854042"/>
              <a:gd name="connsiteY2" fmla="*/ 147045 h 5053206"/>
              <a:gd name="connsiteX3" fmla="*/ 1689101 w 1854042"/>
              <a:gd name="connsiteY3" fmla="*/ 18351 h 5053206"/>
              <a:gd name="connsiteX4" fmla="*/ 1777154 w 1854042"/>
              <a:gd name="connsiteY4" fmla="*/ 11578 h 5053206"/>
              <a:gd name="connsiteX5" fmla="*/ 1851661 w 1854042"/>
              <a:gd name="connsiteY5" fmla="*/ 119951 h 5053206"/>
              <a:gd name="connsiteX6" fmla="*/ 1811021 w 1854042"/>
              <a:gd name="connsiteY6" fmla="*/ 837925 h 5053206"/>
              <a:gd name="connsiteX7" fmla="*/ 1580727 w 1854042"/>
              <a:gd name="connsiteY7" fmla="*/ 1643951 h 5053206"/>
              <a:gd name="connsiteX8" fmla="*/ 1221741 w 1854042"/>
              <a:gd name="connsiteY8" fmla="*/ 2321285 h 5053206"/>
              <a:gd name="connsiteX9" fmla="*/ 625687 w 1854042"/>
              <a:gd name="connsiteY9" fmla="*/ 3079898 h 5053206"/>
              <a:gd name="connsiteX10" fmla="*/ 510541 w 1854042"/>
              <a:gd name="connsiteY10" fmla="*/ 3316965 h 5053206"/>
              <a:gd name="connsiteX11" fmla="*/ 496994 w 1854042"/>
              <a:gd name="connsiteY11" fmla="*/ 3716591 h 5053206"/>
              <a:gd name="connsiteX12" fmla="*/ 734061 w 1854042"/>
              <a:gd name="connsiteY12" fmla="*/ 4122991 h 5053206"/>
              <a:gd name="connsiteX13" fmla="*/ 1201421 w 1854042"/>
              <a:gd name="connsiteY13" fmla="*/ 4542938 h 5053206"/>
              <a:gd name="connsiteX14" fmla="*/ 1391074 w 1854042"/>
              <a:gd name="connsiteY14" fmla="*/ 4854511 h 5053206"/>
              <a:gd name="connsiteX15" fmla="*/ 1357207 w 1854042"/>
              <a:gd name="connsiteY15" fmla="*/ 4996751 h 5053206"/>
              <a:gd name="connsiteX16" fmla="*/ 1167554 w 1854042"/>
              <a:gd name="connsiteY16" fmla="*/ 5044165 h 5053206"/>
              <a:gd name="connsiteX17" fmla="*/ 896621 w 1854042"/>
              <a:gd name="connsiteY17" fmla="*/ 4827418 h 5053206"/>
              <a:gd name="connsiteX18" fmla="*/ 300567 w 1854042"/>
              <a:gd name="connsiteY18" fmla="*/ 4211045 h 5053206"/>
              <a:gd name="connsiteX19" fmla="*/ 63501 w 1854042"/>
              <a:gd name="connsiteY19" fmla="*/ 4007845 h 5053206"/>
              <a:gd name="connsiteX20" fmla="*/ 9314 w 1854042"/>
              <a:gd name="connsiteY20" fmla="*/ 3533711 h 5053206"/>
              <a:gd name="connsiteX21" fmla="*/ 219287 w 1854042"/>
              <a:gd name="connsiteY21" fmla="*/ 3052805 h 5053206"/>
              <a:gd name="connsiteX22" fmla="*/ 618914 w 1854042"/>
              <a:gd name="connsiteY22" fmla="*/ 2544805 h 5053206"/>
              <a:gd name="connsiteX23" fmla="*/ 964354 w 1854042"/>
              <a:gd name="connsiteY23" fmla="*/ 2165498 h 5053206"/>
              <a:gd name="connsiteX24" fmla="*/ 1242061 w 1854042"/>
              <a:gd name="connsiteY24" fmla="*/ 1488165 h 5053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854042" h="5053206">
                <a:moveTo>
                  <a:pt x="1242061" y="1488165"/>
                </a:moveTo>
                <a:cubicBezTo>
                  <a:pt x="1330114" y="1263516"/>
                  <a:pt x="1435101" y="1041125"/>
                  <a:pt x="1492674" y="817605"/>
                </a:cubicBezTo>
                <a:cubicBezTo>
                  <a:pt x="1550247" y="594085"/>
                  <a:pt x="1554763" y="280254"/>
                  <a:pt x="1587501" y="147045"/>
                </a:cubicBezTo>
                <a:cubicBezTo>
                  <a:pt x="1620239" y="13836"/>
                  <a:pt x="1657492" y="40929"/>
                  <a:pt x="1689101" y="18351"/>
                </a:cubicBezTo>
                <a:cubicBezTo>
                  <a:pt x="1720710" y="-4227"/>
                  <a:pt x="1750061" y="-5355"/>
                  <a:pt x="1777154" y="11578"/>
                </a:cubicBezTo>
                <a:cubicBezTo>
                  <a:pt x="1804247" y="28511"/>
                  <a:pt x="1846017" y="-17773"/>
                  <a:pt x="1851661" y="119951"/>
                </a:cubicBezTo>
                <a:cubicBezTo>
                  <a:pt x="1857305" y="257675"/>
                  <a:pt x="1856177" y="583925"/>
                  <a:pt x="1811021" y="837925"/>
                </a:cubicBezTo>
                <a:cubicBezTo>
                  <a:pt x="1765865" y="1091925"/>
                  <a:pt x="1678940" y="1396724"/>
                  <a:pt x="1580727" y="1643951"/>
                </a:cubicBezTo>
                <a:cubicBezTo>
                  <a:pt x="1482514" y="1891178"/>
                  <a:pt x="1380914" y="2081960"/>
                  <a:pt x="1221741" y="2321285"/>
                </a:cubicBezTo>
                <a:cubicBezTo>
                  <a:pt x="1062568" y="2560610"/>
                  <a:pt x="744220" y="2913951"/>
                  <a:pt x="625687" y="3079898"/>
                </a:cubicBezTo>
                <a:cubicBezTo>
                  <a:pt x="507154" y="3245845"/>
                  <a:pt x="531990" y="3210849"/>
                  <a:pt x="510541" y="3316965"/>
                </a:cubicBezTo>
                <a:cubicBezTo>
                  <a:pt x="489092" y="3423081"/>
                  <a:pt x="459741" y="3582253"/>
                  <a:pt x="496994" y="3716591"/>
                </a:cubicBezTo>
                <a:cubicBezTo>
                  <a:pt x="534247" y="3850929"/>
                  <a:pt x="616657" y="3985267"/>
                  <a:pt x="734061" y="4122991"/>
                </a:cubicBezTo>
                <a:cubicBezTo>
                  <a:pt x="851465" y="4260715"/>
                  <a:pt x="1091919" y="4421018"/>
                  <a:pt x="1201421" y="4542938"/>
                </a:cubicBezTo>
                <a:cubicBezTo>
                  <a:pt x="1310923" y="4664858"/>
                  <a:pt x="1365110" y="4778876"/>
                  <a:pt x="1391074" y="4854511"/>
                </a:cubicBezTo>
                <a:cubicBezTo>
                  <a:pt x="1417038" y="4930146"/>
                  <a:pt x="1394460" y="4965142"/>
                  <a:pt x="1357207" y="4996751"/>
                </a:cubicBezTo>
                <a:cubicBezTo>
                  <a:pt x="1319954" y="5028360"/>
                  <a:pt x="1244318" y="5072387"/>
                  <a:pt x="1167554" y="5044165"/>
                </a:cubicBezTo>
                <a:cubicBezTo>
                  <a:pt x="1090790" y="5015943"/>
                  <a:pt x="1041119" y="4966271"/>
                  <a:pt x="896621" y="4827418"/>
                </a:cubicBezTo>
                <a:cubicBezTo>
                  <a:pt x="752123" y="4688565"/>
                  <a:pt x="439420" y="4347641"/>
                  <a:pt x="300567" y="4211045"/>
                </a:cubicBezTo>
                <a:cubicBezTo>
                  <a:pt x="161714" y="4074450"/>
                  <a:pt x="112043" y="4120734"/>
                  <a:pt x="63501" y="4007845"/>
                </a:cubicBezTo>
                <a:cubicBezTo>
                  <a:pt x="14959" y="3894956"/>
                  <a:pt x="-16650" y="3692884"/>
                  <a:pt x="9314" y="3533711"/>
                </a:cubicBezTo>
                <a:cubicBezTo>
                  <a:pt x="35278" y="3374538"/>
                  <a:pt x="117687" y="3217623"/>
                  <a:pt x="219287" y="3052805"/>
                </a:cubicBezTo>
                <a:cubicBezTo>
                  <a:pt x="320887" y="2887987"/>
                  <a:pt x="494736" y="2692690"/>
                  <a:pt x="618914" y="2544805"/>
                </a:cubicBezTo>
                <a:cubicBezTo>
                  <a:pt x="743092" y="2396921"/>
                  <a:pt x="862754" y="2339347"/>
                  <a:pt x="964354" y="2165498"/>
                </a:cubicBezTo>
                <a:cubicBezTo>
                  <a:pt x="1065954" y="1991649"/>
                  <a:pt x="1154008" y="1712814"/>
                  <a:pt x="1242061" y="1488165"/>
                </a:cubicBezTo>
                <a:close/>
              </a:path>
            </a:pathLst>
          </a:custGeom>
          <a:solidFill>
            <a:schemeClr val="accent1">
              <a:alpha val="30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kumimoji="0" lang="ja-JP" altLang="en-US" sz="160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游ゴシック"/>
            </a:endParaRPr>
          </a:p>
        </p:txBody>
      </p:sp>
      <p:pic>
        <p:nvPicPr>
          <p:cNvPr id="85" name="図 84" descr="図形&#10;&#10;低い精度で自動的に生成された説明">
            <a:extLst>
              <a:ext uri="{FF2B5EF4-FFF2-40B4-BE49-F238E27FC236}">
                <a16:creationId xmlns:a16="http://schemas.microsoft.com/office/drawing/2014/main" id="{1A5BDC0A-15CD-4D7F-8B68-2333BFC0200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0325" y="3923039"/>
            <a:ext cx="1250023" cy="1250023"/>
          </a:xfrm>
          <a:prstGeom prst="rect">
            <a:avLst/>
          </a:prstGeom>
        </p:spPr>
      </p:pic>
      <p:sp>
        <p:nvSpPr>
          <p:cNvPr id="42" name="フリーフォーム: 図形 41">
            <a:extLst>
              <a:ext uri="{FF2B5EF4-FFF2-40B4-BE49-F238E27FC236}">
                <a16:creationId xmlns:a16="http://schemas.microsoft.com/office/drawing/2014/main" id="{2C53B5EB-1807-4AD4-833F-7398B3230B23}"/>
              </a:ext>
            </a:extLst>
          </p:cNvPr>
          <p:cNvSpPr/>
          <p:nvPr/>
        </p:nvSpPr>
        <p:spPr>
          <a:xfrm>
            <a:off x="9427401" y="1354250"/>
            <a:ext cx="2055789" cy="5066253"/>
          </a:xfrm>
          <a:custGeom>
            <a:avLst/>
            <a:gdLst>
              <a:gd name="connsiteX0" fmla="*/ 141998 w 2055789"/>
              <a:gd name="connsiteY0" fmla="*/ 3086747 h 5066253"/>
              <a:gd name="connsiteX1" fmla="*/ 1103811 w 2055789"/>
              <a:gd name="connsiteY1" fmla="*/ 1772721 h 5066253"/>
              <a:gd name="connsiteX2" fmla="*/ 1632131 w 2055789"/>
              <a:gd name="connsiteY2" fmla="*/ 296134 h 5066253"/>
              <a:gd name="connsiteX3" fmla="*/ 1726958 w 2055789"/>
              <a:gd name="connsiteY3" fmla="*/ 38747 h 5066253"/>
              <a:gd name="connsiteX4" fmla="*/ 1977571 w 2055789"/>
              <a:gd name="connsiteY4" fmla="*/ 18427 h 5066253"/>
              <a:gd name="connsiteX5" fmla="*/ 2052078 w 2055789"/>
              <a:gd name="connsiteY5" fmla="*/ 208081 h 5066253"/>
              <a:gd name="connsiteX6" fmla="*/ 2045304 w 2055789"/>
              <a:gd name="connsiteY6" fmla="*/ 228401 h 5066253"/>
              <a:gd name="connsiteX7" fmla="*/ 1516984 w 2055789"/>
              <a:gd name="connsiteY7" fmla="*/ 1840454 h 5066253"/>
              <a:gd name="connsiteX8" fmla="*/ 575491 w 2055789"/>
              <a:gd name="connsiteY8" fmla="*/ 3195121 h 5066253"/>
              <a:gd name="connsiteX9" fmla="*/ 487438 w 2055789"/>
              <a:gd name="connsiteY9" fmla="*/ 3411867 h 5066253"/>
              <a:gd name="connsiteX10" fmla="*/ 731278 w 2055789"/>
              <a:gd name="connsiteY10" fmla="*/ 3730214 h 5066253"/>
              <a:gd name="connsiteX11" fmla="*/ 1693091 w 2055789"/>
              <a:gd name="connsiteY11" fmla="*/ 4624294 h 5066253"/>
              <a:gd name="connsiteX12" fmla="*/ 1679544 w 2055789"/>
              <a:gd name="connsiteY12" fmla="*/ 5017147 h 5066253"/>
              <a:gd name="connsiteX13" fmla="*/ 1395064 w 2055789"/>
              <a:gd name="connsiteY13" fmla="*/ 5017147 h 5066253"/>
              <a:gd name="connsiteX14" fmla="*/ 1042851 w 2055789"/>
              <a:gd name="connsiteY14" fmla="*/ 4624294 h 5066253"/>
              <a:gd name="connsiteX15" fmla="*/ 141998 w 2055789"/>
              <a:gd name="connsiteY15" fmla="*/ 3662481 h 5066253"/>
              <a:gd name="connsiteX16" fmla="*/ 6531 w 2055789"/>
              <a:gd name="connsiteY16" fmla="*/ 3378001 h 5066253"/>
              <a:gd name="connsiteX17" fmla="*/ 141998 w 2055789"/>
              <a:gd name="connsiteY17" fmla="*/ 3086747 h 5066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055789" h="5066253">
                <a:moveTo>
                  <a:pt x="141998" y="3086747"/>
                </a:moveTo>
                <a:cubicBezTo>
                  <a:pt x="324878" y="2819200"/>
                  <a:pt x="855456" y="2237823"/>
                  <a:pt x="1103811" y="1772721"/>
                </a:cubicBezTo>
                <a:cubicBezTo>
                  <a:pt x="1352167" y="1307619"/>
                  <a:pt x="1528273" y="585130"/>
                  <a:pt x="1632131" y="296134"/>
                </a:cubicBezTo>
                <a:cubicBezTo>
                  <a:pt x="1735989" y="7138"/>
                  <a:pt x="1669385" y="85031"/>
                  <a:pt x="1726958" y="38747"/>
                </a:cubicBezTo>
                <a:cubicBezTo>
                  <a:pt x="1784531" y="-7537"/>
                  <a:pt x="1923384" y="-9795"/>
                  <a:pt x="1977571" y="18427"/>
                </a:cubicBezTo>
                <a:cubicBezTo>
                  <a:pt x="2031758" y="46649"/>
                  <a:pt x="2040789" y="173085"/>
                  <a:pt x="2052078" y="208081"/>
                </a:cubicBezTo>
                <a:cubicBezTo>
                  <a:pt x="2063367" y="243077"/>
                  <a:pt x="2045304" y="228401"/>
                  <a:pt x="2045304" y="228401"/>
                </a:cubicBezTo>
                <a:cubicBezTo>
                  <a:pt x="1956122" y="500463"/>
                  <a:pt x="1761953" y="1346001"/>
                  <a:pt x="1516984" y="1840454"/>
                </a:cubicBezTo>
                <a:cubicBezTo>
                  <a:pt x="1272015" y="2334907"/>
                  <a:pt x="747082" y="2933219"/>
                  <a:pt x="575491" y="3195121"/>
                </a:cubicBezTo>
                <a:cubicBezTo>
                  <a:pt x="403900" y="3457023"/>
                  <a:pt x="461473" y="3322685"/>
                  <a:pt x="487438" y="3411867"/>
                </a:cubicBezTo>
                <a:cubicBezTo>
                  <a:pt x="513403" y="3501049"/>
                  <a:pt x="530336" y="3528143"/>
                  <a:pt x="731278" y="3730214"/>
                </a:cubicBezTo>
                <a:cubicBezTo>
                  <a:pt x="932220" y="3932285"/>
                  <a:pt x="1535047" y="4409805"/>
                  <a:pt x="1693091" y="4624294"/>
                </a:cubicBezTo>
                <a:cubicBezTo>
                  <a:pt x="1851135" y="4838783"/>
                  <a:pt x="1729215" y="4951672"/>
                  <a:pt x="1679544" y="5017147"/>
                </a:cubicBezTo>
                <a:cubicBezTo>
                  <a:pt x="1629873" y="5082622"/>
                  <a:pt x="1501179" y="5082622"/>
                  <a:pt x="1395064" y="5017147"/>
                </a:cubicBezTo>
                <a:cubicBezTo>
                  <a:pt x="1288949" y="4951672"/>
                  <a:pt x="1251695" y="4850072"/>
                  <a:pt x="1042851" y="4624294"/>
                </a:cubicBezTo>
                <a:cubicBezTo>
                  <a:pt x="834007" y="4398516"/>
                  <a:pt x="314718" y="3870196"/>
                  <a:pt x="141998" y="3662481"/>
                </a:cubicBezTo>
                <a:cubicBezTo>
                  <a:pt x="-30722" y="3454766"/>
                  <a:pt x="8789" y="3475085"/>
                  <a:pt x="6531" y="3378001"/>
                </a:cubicBezTo>
                <a:cubicBezTo>
                  <a:pt x="4273" y="3280917"/>
                  <a:pt x="-40882" y="3354294"/>
                  <a:pt x="141998" y="3086747"/>
                </a:cubicBezTo>
                <a:close/>
              </a:path>
            </a:pathLst>
          </a:custGeom>
          <a:solidFill>
            <a:schemeClr val="accent1">
              <a:alpha val="30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kumimoji="0" lang="ja-JP" altLang="en-US" sz="160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游ゴシック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BDEEE0F7-FE4E-0F4D-9A3A-472437D7FC8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971429" y="6632696"/>
            <a:ext cx="220571" cy="230832"/>
          </a:xfrm>
        </p:spPr>
        <p:txBody>
          <a:bodyPr/>
          <a:lstStyle/>
          <a:p>
            <a:fld id="{86CB4B4D-7CA3-9044-876B-883B54F8677D}" type="slidenum">
              <a:rPr lang="en-US" altLang="ja-JP" smtClean="0"/>
              <a:pPr/>
              <a:t>6</a:t>
            </a:fld>
            <a:endParaRPr lang="en-US" altLang="ja-JP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66AD9DE4-14CE-A044-805F-D963D541E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err="1"/>
              <a:t>TraIIRe</a:t>
            </a:r>
            <a:r>
              <a:rPr kumimoji="1" lang="en-US" altLang="ja-JP" dirty="0"/>
              <a:t> Data Format</a:t>
            </a:r>
            <a:endParaRPr kumimoji="1" lang="ja-JP" altLang="en-US" dirty="0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B7888253-B6A9-B649-882F-3BD28464A3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884237"/>
            <a:ext cx="11422063" cy="541338"/>
          </a:xfrm>
        </p:spPr>
        <p:txBody>
          <a:bodyPr/>
          <a:lstStyle/>
          <a:p>
            <a:r>
              <a:rPr kumimoji="1" lang="en-US" altLang="ja-JP" dirty="0"/>
              <a:t>Whole data structure</a:t>
            </a:r>
            <a:endParaRPr kumimoji="1" lang="ja-JP" altLang="en-US" dirty="0"/>
          </a:p>
        </p:txBody>
      </p:sp>
      <p:sp>
        <p:nvSpPr>
          <p:cNvPr id="12" name="楕円 11">
            <a:extLst>
              <a:ext uri="{FF2B5EF4-FFF2-40B4-BE49-F238E27FC236}">
                <a16:creationId xmlns:a16="http://schemas.microsoft.com/office/drawing/2014/main" id="{57844CC7-6814-4268-8459-B4D965A9A20E}"/>
              </a:ext>
            </a:extLst>
          </p:cNvPr>
          <p:cNvSpPr/>
          <p:nvPr/>
        </p:nvSpPr>
        <p:spPr>
          <a:xfrm>
            <a:off x="9517697" y="4598563"/>
            <a:ext cx="271306" cy="271306"/>
          </a:xfrm>
          <a:prstGeom prst="ellipse">
            <a:avLst/>
          </a:prstGeom>
          <a:solidFill>
            <a:schemeClr val="accent1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kumimoji="0" lang="ja-JP" altLang="en-US" sz="1600" b="1" dirty="0" err="1">
              <a:solidFill>
                <a:schemeClr val="bg1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Arial" panose="020B0604020202020204" pitchFamily="34" charset="0"/>
              <a:sym typeface="游ゴシック"/>
            </a:endParaRPr>
          </a:p>
        </p:txBody>
      </p:sp>
      <p:sp>
        <p:nvSpPr>
          <p:cNvPr id="13" name="楕円 12">
            <a:extLst>
              <a:ext uri="{FF2B5EF4-FFF2-40B4-BE49-F238E27FC236}">
                <a16:creationId xmlns:a16="http://schemas.microsoft.com/office/drawing/2014/main" id="{601C3AC5-7C58-43DC-94CD-2CEBA2EC3FE9}"/>
              </a:ext>
            </a:extLst>
          </p:cNvPr>
          <p:cNvSpPr/>
          <p:nvPr/>
        </p:nvSpPr>
        <p:spPr>
          <a:xfrm>
            <a:off x="10639750" y="2903129"/>
            <a:ext cx="271306" cy="271306"/>
          </a:xfrm>
          <a:prstGeom prst="ellipse">
            <a:avLst/>
          </a:prstGeom>
          <a:solidFill>
            <a:schemeClr val="accent1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kumimoji="0" lang="ja-JP" altLang="en-US" sz="1600" b="1" dirty="0" err="1">
              <a:solidFill>
                <a:schemeClr val="bg1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Arial" panose="020B0604020202020204" pitchFamily="34" charset="0"/>
              <a:sym typeface="游ゴシック"/>
            </a:endParaRPr>
          </a:p>
        </p:txBody>
      </p:sp>
      <p:cxnSp>
        <p:nvCxnSpPr>
          <p:cNvPr id="17" name="直線矢印コネクタ 16">
            <a:extLst>
              <a:ext uri="{FF2B5EF4-FFF2-40B4-BE49-F238E27FC236}">
                <a16:creationId xmlns:a16="http://schemas.microsoft.com/office/drawing/2014/main" id="{A2CE9B9C-C38D-488D-8ACB-094D05FB185C}"/>
              </a:ext>
            </a:extLst>
          </p:cNvPr>
          <p:cNvCxnSpPr>
            <a:cxnSpLocks/>
            <a:stCxn id="12" idx="7"/>
          </p:cNvCxnSpPr>
          <p:nvPr/>
        </p:nvCxnSpPr>
        <p:spPr>
          <a:xfrm flipV="1">
            <a:off x="9749271" y="3158095"/>
            <a:ext cx="934786" cy="1480200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楕円 21">
            <a:extLst>
              <a:ext uri="{FF2B5EF4-FFF2-40B4-BE49-F238E27FC236}">
                <a16:creationId xmlns:a16="http://schemas.microsoft.com/office/drawing/2014/main" id="{0FF7EB05-2026-446E-8ADA-B3155D114EAC}"/>
              </a:ext>
            </a:extLst>
          </p:cNvPr>
          <p:cNvSpPr/>
          <p:nvPr/>
        </p:nvSpPr>
        <p:spPr>
          <a:xfrm>
            <a:off x="10775403" y="5962578"/>
            <a:ext cx="271306" cy="271306"/>
          </a:xfrm>
          <a:prstGeom prst="ellipse">
            <a:avLst/>
          </a:prstGeom>
          <a:solidFill>
            <a:schemeClr val="accent1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kumimoji="0" lang="ja-JP" altLang="en-US" sz="1600" b="1" dirty="0" err="1">
              <a:solidFill>
                <a:schemeClr val="bg1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Arial" panose="020B0604020202020204" pitchFamily="34" charset="0"/>
              <a:sym typeface="游ゴシック"/>
            </a:endParaRPr>
          </a:p>
        </p:txBody>
      </p:sp>
      <p:sp>
        <p:nvSpPr>
          <p:cNvPr id="23" name="楕円 22">
            <a:extLst>
              <a:ext uri="{FF2B5EF4-FFF2-40B4-BE49-F238E27FC236}">
                <a16:creationId xmlns:a16="http://schemas.microsoft.com/office/drawing/2014/main" id="{90C60534-6947-41D2-86BB-14DD2E03D6DF}"/>
              </a:ext>
            </a:extLst>
          </p:cNvPr>
          <p:cNvSpPr/>
          <p:nvPr/>
        </p:nvSpPr>
        <p:spPr>
          <a:xfrm>
            <a:off x="11137308" y="1451941"/>
            <a:ext cx="271306" cy="271306"/>
          </a:xfrm>
          <a:prstGeom prst="ellipse">
            <a:avLst/>
          </a:prstGeom>
          <a:solidFill>
            <a:schemeClr val="accent1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/>
            <a:endParaRPr kumimoji="0" lang="ja-JP" altLang="en-US" sz="1600" b="1" dirty="0" err="1">
              <a:solidFill>
                <a:schemeClr val="bg1"/>
              </a:solidFill>
              <a:latin typeface="Helvetica" panose="020B0604020202020204" pitchFamily="34" charset="0"/>
              <a:ea typeface="BIZ UDPゴシック" panose="020B0400000000000000" pitchFamily="50" charset="-128"/>
              <a:cs typeface="Arial" panose="020B0604020202020204" pitchFamily="34" charset="0"/>
              <a:sym typeface="游ゴシック"/>
            </a:endParaRPr>
          </a:p>
        </p:txBody>
      </p:sp>
      <p:cxnSp>
        <p:nvCxnSpPr>
          <p:cNvPr id="30" name="直線矢印コネクタ 29">
            <a:extLst>
              <a:ext uri="{FF2B5EF4-FFF2-40B4-BE49-F238E27FC236}">
                <a16:creationId xmlns:a16="http://schemas.microsoft.com/office/drawing/2014/main" id="{574BD61E-D201-4EB8-A1AA-6CD636E53D3D}"/>
              </a:ext>
            </a:extLst>
          </p:cNvPr>
          <p:cNvCxnSpPr>
            <a:cxnSpLocks/>
            <a:stCxn id="13" idx="0"/>
          </p:cNvCxnSpPr>
          <p:nvPr/>
        </p:nvCxnSpPr>
        <p:spPr>
          <a:xfrm flipV="1">
            <a:off x="10775403" y="1710847"/>
            <a:ext cx="469681" cy="1192282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8" name="直線矢印コネクタ 37">
            <a:extLst>
              <a:ext uri="{FF2B5EF4-FFF2-40B4-BE49-F238E27FC236}">
                <a16:creationId xmlns:a16="http://schemas.microsoft.com/office/drawing/2014/main" id="{C1F10CB1-23C1-47EE-8E6E-B54DF5243925}"/>
              </a:ext>
            </a:extLst>
          </p:cNvPr>
          <p:cNvCxnSpPr>
            <a:cxnSpLocks/>
            <a:stCxn id="22" idx="1"/>
            <a:endCxn id="12" idx="5"/>
          </p:cNvCxnSpPr>
          <p:nvPr/>
        </p:nvCxnSpPr>
        <p:spPr>
          <a:xfrm flipH="1" flipV="1">
            <a:off x="9749271" y="4830137"/>
            <a:ext cx="1065864" cy="1172173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6" name="図 5" descr="図形&#10;&#10;低い精度で自動的に生成された説明">
            <a:extLst>
              <a:ext uri="{FF2B5EF4-FFF2-40B4-BE49-F238E27FC236}">
                <a16:creationId xmlns:a16="http://schemas.microsoft.com/office/drawing/2014/main" id="{CE1BE590-192E-4252-AA88-BC94FA8E20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4890" y="1133193"/>
            <a:ext cx="887762" cy="887762"/>
          </a:xfrm>
          <a:prstGeom prst="rect">
            <a:avLst/>
          </a:prstGeom>
        </p:spPr>
      </p:pic>
      <p:pic>
        <p:nvPicPr>
          <p:cNvPr id="25" name="図 24" descr="図形&#10;&#10;低い精度で自動的に生成された説明">
            <a:extLst>
              <a:ext uri="{FF2B5EF4-FFF2-40B4-BE49-F238E27FC236}">
                <a16:creationId xmlns:a16="http://schemas.microsoft.com/office/drawing/2014/main" id="{9079B366-8ECA-4354-A7DF-15EB4B5DC6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6796" y="2601953"/>
            <a:ext cx="887762" cy="887762"/>
          </a:xfrm>
          <a:prstGeom prst="rect">
            <a:avLst/>
          </a:prstGeom>
        </p:spPr>
      </p:pic>
      <p:pic>
        <p:nvPicPr>
          <p:cNvPr id="26" name="図 25" descr="図形&#10;&#10;低い精度で自動的に生成された説明">
            <a:extLst>
              <a:ext uri="{FF2B5EF4-FFF2-40B4-BE49-F238E27FC236}">
                <a16:creationId xmlns:a16="http://schemas.microsoft.com/office/drawing/2014/main" id="{A46F35FA-C000-41E3-8C19-9CA66BBA1F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015" y="4290335"/>
            <a:ext cx="887762" cy="887762"/>
          </a:xfrm>
          <a:prstGeom prst="rect">
            <a:avLst/>
          </a:prstGeom>
        </p:spPr>
      </p:pic>
      <p:pic>
        <p:nvPicPr>
          <p:cNvPr id="27" name="図 26" descr="図形&#10;&#10;低い精度で自動的に生成された説明">
            <a:extLst>
              <a:ext uri="{FF2B5EF4-FFF2-40B4-BE49-F238E27FC236}">
                <a16:creationId xmlns:a16="http://schemas.microsoft.com/office/drawing/2014/main" id="{F30E081C-C03F-42BB-971A-7373503DC67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093" y="5654350"/>
            <a:ext cx="887762" cy="887762"/>
          </a:xfrm>
          <a:prstGeom prst="rect">
            <a:avLst/>
          </a:prstGeom>
        </p:spPr>
      </p:pic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9D27F991-F514-4773-9F50-FBC08EDD90AB}"/>
              </a:ext>
            </a:extLst>
          </p:cNvPr>
          <p:cNvCxnSpPr>
            <a:cxnSpLocks/>
            <a:endCxn id="23" idx="2"/>
          </p:cNvCxnSpPr>
          <p:nvPr/>
        </p:nvCxnSpPr>
        <p:spPr>
          <a:xfrm>
            <a:off x="9921424" y="1587594"/>
            <a:ext cx="1215884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none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1" name="直線コネクタ 30">
            <a:extLst>
              <a:ext uri="{FF2B5EF4-FFF2-40B4-BE49-F238E27FC236}">
                <a16:creationId xmlns:a16="http://schemas.microsoft.com/office/drawing/2014/main" id="{14F56D14-033A-4B9D-8BF1-98FD1B5B928C}"/>
              </a:ext>
            </a:extLst>
          </p:cNvPr>
          <p:cNvCxnSpPr>
            <a:cxnSpLocks/>
          </p:cNvCxnSpPr>
          <p:nvPr/>
        </p:nvCxnSpPr>
        <p:spPr>
          <a:xfrm>
            <a:off x="9094890" y="3045834"/>
            <a:ext cx="1544860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直線コネクタ 31">
            <a:extLst>
              <a:ext uri="{FF2B5EF4-FFF2-40B4-BE49-F238E27FC236}">
                <a16:creationId xmlns:a16="http://schemas.microsoft.com/office/drawing/2014/main" id="{D3F5492D-B88A-4039-B108-75E2F1E09752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8082455" y="4734216"/>
            <a:ext cx="1435242" cy="2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C19C82D-7E37-4C84-8B49-DEE4AE4B01F9}"/>
              </a:ext>
            </a:extLst>
          </p:cNvPr>
          <p:cNvCxnSpPr>
            <a:cxnSpLocks/>
            <a:endCxn id="22" idx="2"/>
          </p:cNvCxnSpPr>
          <p:nvPr/>
        </p:nvCxnSpPr>
        <p:spPr>
          <a:xfrm>
            <a:off x="9349250" y="6098231"/>
            <a:ext cx="1426153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9" name="直線矢印コネクタ 38">
            <a:extLst>
              <a:ext uri="{FF2B5EF4-FFF2-40B4-BE49-F238E27FC236}">
                <a16:creationId xmlns:a16="http://schemas.microsoft.com/office/drawing/2014/main" id="{55383252-B584-41CC-8A1A-DDF4E49C44D5}"/>
              </a:ext>
            </a:extLst>
          </p:cNvPr>
          <p:cNvCxnSpPr>
            <a:cxnSpLocks/>
          </p:cNvCxnSpPr>
          <p:nvPr/>
        </p:nvCxnSpPr>
        <p:spPr>
          <a:xfrm flipV="1">
            <a:off x="8854450" y="1895588"/>
            <a:ext cx="269991" cy="841007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6" name="直線矢印コネクタ 45">
            <a:extLst>
              <a:ext uri="{FF2B5EF4-FFF2-40B4-BE49-F238E27FC236}">
                <a16:creationId xmlns:a16="http://schemas.microsoft.com/office/drawing/2014/main" id="{B64715C5-47AA-4CB3-9AE9-024BC8E41D41}"/>
              </a:ext>
            </a:extLst>
          </p:cNvPr>
          <p:cNvCxnSpPr>
            <a:cxnSpLocks/>
          </p:cNvCxnSpPr>
          <p:nvPr/>
        </p:nvCxnSpPr>
        <p:spPr>
          <a:xfrm flipV="1">
            <a:off x="7719158" y="3318634"/>
            <a:ext cx="848128" cy="1099740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1" name="直線矢印コネクタ 50">
            <a:extLst>
              <a:ext uri="{FF2B5EF4-FFF2-40B4-BE49-F238E27FC236}">
                <a16:creationId xmlns:a16="http://schemas.microsoft.com/office/drawing/2014/main" id="{7AA923C8-D743-46CA-9984-4D0F8FC77E4E}"/>
              </a:ext>
            </a:extLst>
          </p:cNvPr>
          <p:cNvCxnSpPr>
            <a:cxnSpLocks/>
          </p:cNvCxnSpPr>
          <p:nvPr/>
        </p:nvCxnSpPr>
        <p:spPr>
          <a:xfrm flipH="1" flipV="1">
            <a:off x="7702539" y="5009830"/>
            <a:ext cx="864747" cy="799375"/>
          </a:xfrm>
          <a:prstGeom prst="straightConnector1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 type="arrow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64" name="図 63" descr="図形&#10;&#10;低い精度で自動的に生成された説明">
            <a:extLst>
              <a:ext uri="{FF2B5EF4-FFF2-40B4-BE49-F238E27FC236}">
                <a16:creationId xmlns:a16="http://schemas.microsoft.com/office/drawing/2014/main" id="{D75DAD7C-4C87-4FC8-AB96-826BA3BC80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4842" y="1817588"/>
            <a:ext cx="887762" cy="887762"/>
          </a:xfrm>
          <a:prstGeom prst="rect">
            <a:avLst/>
          </a:prstGeom>
        </p:spPr>
      </p:pic>
      <p:pic>
        <p:nvPicPr>
          <p:cNvPr id="65" name="図 64" descr="図形&#10;&#10;低い精度で自動的に生成された説明">
            <a:extLst>
              <a:ext uri="{FF2B5EF4-FFF2-40B4-BE49-F238E27FC236}">
                <a16:creationId xmlns:a16="http://schemas.microsoft.com/office/drawing/2014/main" id="{901E9E11-5716-4792-B6B1-7A3C2DA8FC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4316" y="3277341"/>
            <a:ext cx="887762" cy="887762"/>
          </a:xfrm>
          <a:prstGeom prst="rect">
            <a:avLst/>
          </a:prstGeom>
        </p:spPr>
      </p:pic>
      <p:pic>
        <p:nvPicPr>
          <p:cNvPr id="66" name="図 65" descr="図形&#10;&#10;低い精度で自動的に生成された説明">
            <a:extLst>
              <a:ext uri="{FF2B5EF4-FFF2-40B4-BE49-F238E27FC236}">
                <a16:creationId xmlns:a16="http://schemas.microsoft.com/office/drawing/2014/main" id="{8D0D99BD-0478-4B97-AFFD-63D8C6E55CF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4316" y="5343503"/>
            <a:ext cx="887762" cy="887762"/>
          </a:xfrm>
          <a:prstGeom prst="rect">
            <a:avLst/>
          </a:prstGeom>
        </p:spPr>
      </p:pic>
      <p:pic>
        <p:nvPicPr>
          <p:cNvPr id="75" name="図 74" descr="図形&#10;&#10;低い精度で自動的に生成された説明">
            <a:extLst>
              <a:ext uri="{FF2B5EF4-FFF2-40B4-BE49-F238E27FC236}">
                <a16:creationId xmlns:a16="http://schemas.microsoft.com/office/drawing/2014/main" id="{9DF856C4-DDC2-44AB-9853-7E744D4141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12" y="4265632"/>
            <a:ext cx="1073859" cy="1073859"/>
          </a:xfrm>
          <a:prstGeom prst="rect">
            <a:avLst/>
          </a:prstGeom>
        </p:spPr>
      </p:pic>
      <p:pic>
        <p:nvPicPr>
          <p:cNvPr id="79" name="図 78" descr="図形&#10;&#10;低い精度で自動的に生成された説明">
            <a:extLst>
              <a:ext uri="{FF2B5EF4-FFF2-40B4-BE49-F238E27FC236}">
                <a16:creationId xmlns:a16="http://schemas.microsoft.com/office/drawing/2014/main" id="{1A5FE12A-9D2D-4659-83E6-37E01592B5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8253" y="355066"/>
            <a:ext cx="1250023" cy="1250023"/>
          </a:xfrm>
          <a:prstGeom prst="rect">
            <a:avLst/>
          </a:prstGeom>
        </p:spPr>
      </p:pic>
      <p:pic>
        <p:nvPicPr>
          <p:cNvPr id="82" name="図 81" descr="図形&#10;&#10;低い精度で自動的に生成された説明">
            <a:extLst>
              <a:ext uri="{FF2B5EF4-FFF2-40B4-BE49-F238E27FC236}">
                <a16:creationId xmlns:a16="http://schemas.microsoft.com/office/drawing/2014/main" id="{980B02BE-06C1-4301-83BB-F9D20B8D6C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5722" y="3974167"/>
            <a:ext cx="1073859" cy="1074684"/>
          </a:xfrm>
          <a:prstGeom prst="rect">
            <a:avLst/>
          </a:prstGeom>
        </p:spPr>
      </p:pic>
      <p:sp>
        <p:nvSpPr>
          <p:cNvPr id="104" name="テキスト ボックス 103">
            <a:extLst>
              <a:ext uri="{FF2B5EF4-FFF2-40B4-BE49-F238E27FC236}">
                <a16:creationId xmlns:a16="http://schemas.microsoft.com/office/drawing/2014/main" id="{6F1F3A23-7EFA-45CA-9C1A-832808EBB83A}"/>
              </a:ext>
            </a:extLst>
          </p:cNvPr>
          <p:cNvSpPr txBox="1"/>
          <p:nvPr/>
        </p:nvSpPr>
        <p:spPr>
          <a:xfrm>
            <a:off x="552247" y="5395434"/>
            <a:ext cx="89535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ja-JP" sz="18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+mj-ea"/>
                <a:cs typeface="游ゴシック"/>
                <a:sym typeface="游ゴシック"/>
              </a:rPr>
              <a:t>Load</a:t>
            </a:r>
            <a:endParaRPr kumimoji="0" lang="ja-JP" altLang="en-US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ea typeface="+mj-ea"/>
              <a:cs typeface="游ゴシック"/>
              <a:sym typeface="游ゴシック"/>
            </a:endParaRPr>
          </a:p>
        </p:txBody>
      </p:sp>
      <p:sp>
        <p:nvSpPr>
          <p:cNvPr id="105" name="テキスト ボックス 104">
            <a:extLst>
              <a:ext uri="{FF2B5EF4-FFF2-40B4-BE49-F238E27FC236}">
                <a16:creationId xmlns:a16="http://schemas.microsoft.com/office/drawing/2014/main" id="{C2238D6F-DE8E-444A-8174-9CFBD9616747}"/>
              </a:ext>
            </a:extLst>
          </p:cNvPr>
          <p:cNvSpPr txBox="1"/>
          <p:nvPr/>
        </p:nvSpPr>
        <p:spPr>
          <a:xfrm>
            <a:off x="2288936" y="5395434"/>
            <a:ext cx="62573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ja-JP" sz="18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+mj-ea"/>
                <a:cs typeface="游ゴシック"/>
                <a:sym typeface="游ゴシック"/>
              </a:rPr>
              <a:t>Trip</a:t>
            </a:r>
            <a:endParaRPr kumimoji="0" lang="ja-JP" altLang="en-US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ea typeface="+mj-ea"/>
              <a:cs typeface="游ゴシック"/>
              <a:sym typeface="游ゴシック"/>
            </a:endParaRPr>
          </a:p>
        </p:txBody>
      </p:sp>
      <p:pic>
        <p:nvPicPr>
          <p:cNvPr id="86" name="図 85" descr="図形&#10;&#10;低い精度で自動的に生成された説明">
            <a:extLst>
              <a:ext uri="{FF2B5EF4-FFF2-40B4-BE49-F238E27FC236}">
                <a16:creationId xmlns:a16="http://schemas.microsoft.com/office/drawing/2014/main" id="{9F86A32B-9CD0-44C6-A35B-F348B91A442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682" y="4589431"/>
            <a:ext cx="1073859" cy="1074684"/>
          </a:xfrm>
          <a:prstGeom prst="rect">
            <a:avLst/>
          </a:prstGeom>
        </p:spPr>
      </p:pic>
      <p:sp>
        <p:nvSpPr>
          <p:cNvPr id="107" name="テキスト ボックス 106">
            <a:extLst>
              <a:ext uri="{FF2B5EF4-FFF2-40B4-BE49-F238E27FC236}">
                <a16:creationId xmlns:a16="http://schemas.microsoft.com/office/drawing/2014/main" id="{1C09BE64-E6DB-4716-BE6D-A4A691D598AA}"/>
              </a:ext>
            </a:extLst>
          </p:cNvPr>
          <p:cNvSpPr txBox="1"/>
          <p:nvPr/>
        </p:nvSpPr>
        <p:spPr>
          <a:xfrm>
            <a:off x="3824122" y="5395434"/>
            <a:ext cx="62573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ja-JP" dirty="0">
                <a:solidFill>
                  <a:srgbClr val="221714"/>
                </a:solidFill>
                <a:ea typeface="+mj-ea"/>
                <a:cs typeface="游ゴシック"/>
                <a:sym typeface="游ゴシック"/>
              </a:rPr>
              <a:t>Leg</a:t>
            </a:r>
            <a:endParaRPr kumimoji="0" lang="ja-JP" altLang="en-US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ea typeface="+mj-ea"/>
              <a:cs typeface="游ゴシック"/>
              <a:sym typeface="游ゴシック"/>
            </a:endParaRPr>
          </a:p>
        </p:txBody>
      </p:sp>
      <p:sp>
        <p:nvSpPr>
          <p:cNvPr id="108" name="テキスト ボックス 107">
            <a:extLst>
              <a:ext uri="{FF2B5EF4-FFF2-40B4-BE49-F238E27FC236}">
                <a16:creationId xmlns:a16="http://schemas.microsoft.com/office/drawing/2014/main" id="{5E748181-9C67-44A2-9C79-0812B01E6B75}"/>
              </a:ext>
            </a:extLst>
          </p:cNvPr>
          <p:cNvSpPr txBox="1"/>
          <p:nvPr/>
        </p:nvSpPr>
        <p:spPr>
          <a:xfrm>
            <a:off x="6825393" y="1114413"/>
            <a:ext cx="158383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ja-JP" dirty="0">
                <a:solidFill>
                  <a:srgbClr val="221714"/>
                </a:solidFill>
                <a:ea typeface="+mj-ea"/>
                <a:cs typeface="游ゴシック"/>
                <a:sym typeface="游ゴシック"/>
              </a:rPr>
              <a:t>Transportation</a:t>
            </a:r>
            <a:endParaRPr kumimoji="0" lang="ja-JP" altLang="en-US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ea typeface="+mj-ea"/>
              <a:cs typeface="游ゴシック"/>
              <a:sym typeface="游ゴシック"/>
            </a:endParaRPr>
          </a:p>
        </p:txBody>
      </p:sp>
      <p:pic>
        <p:nvPicPr>
          <p:cNvPr id="110" name="図 109" descr="図形&#10;&#10;低い精度で自動的に生成された説明">
            <a:extLst>
              <a:ext uri="{FF2B5EF4-FFF2-40B4-BE49-F238E27FC236}">
                <a16:creationId xmlns:a16="http://schemas.microsoft.com/office/drawing/2014/main" id="{C9892289-9BD1-49A5-97C4-D742B8034E4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7469" y="4558535"/>
            <a:ext cx="1073859" cy="1074684"/>
          </a:xfrm>
          <a:prstGeom prst="rect">
            <a:avLst/>
          </a:prstGeom>
        </p:spPr>
      </p:pic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B67945E4-50FD-4F82-89D5-88AFFD20A633}"/>
              </a:ext>
            </a:extLst>
          </p:cNvPr>
          <p:cNvSpPr txBox="1"/>
          <p:nvPr/>
        </p:nvSpPr>
        <p:spPr>
          <a:xfrm>
            <a:off x="5452160" y="4659665"/>
            <a:ext cx="2018805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ja-JP" dirty="0" err="1">
                <a:solidFill>
                  <a:srgbClr val="221714"/>
                </a:solidFill>
                <a:ea typeface="+mj-ea"/>
                <a:cs typeface="游ゴシック"/>
                <a:sym typeface="游ゴシック"/>
              </a:rPr>
              <a:t>Node_timetable</a:t>
            </a:r>
            <a:endParaRPr kumimoji="0" lang="ja-JP" altLang="en-US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ea typeface="+mj-ea"/>
              <a:cs typeface="游ゴシック"/>
              <a:sym typeface="游ゴシック"/>
            </a:endParaRPr>
          </a:p>
        </p:txBody>
      </p:sp>
      <p:sp>
        <p:nvSpPr>
          <p:cNvPr id="113" name="テキスト ボックス 112">
            <a:extLst>
              <a:ext uri="{FF2B5EF4-FFF2-40B4-BE49-F238E27FC236}">
                <a16:creationId xmlns:a16="http://schemas.microsoft.com/office/drawing/2014/main" id="{6603657E-C8EE-4E73-8C1D-C4B30CCD4B81}"/>
              </a:ext>
            </a:extLst>
          </p:cNvPr>
          <p:cNvSpPr txBox="1"/>
          <p:nvPr/>
        </p:nvSpPr>
        <p:spPr>
          <a:xfrm>
            <a:off x="10452343" y="1176006"/>
            <a:ext cx="96562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ja-JP" dirty="0">
                <a:solidFill>
                  <a:srgbClr val="221714"/>
                </a:solidFill>
                <a:ea typeface="+mj-ea"/>
                <a:cs typeface="游ゴシック"/>
                <a:sym typeface="游ゴシック"/>
              </a:rPr>
              <a:t>Node</a:t>
            </a:r>
            <a:endParaRPr kumimoji="0" lang="ja-JP" altLang="en-US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ea typeface="+mj-ea"/>
              <a:cs typeface="游ゴシック"/>
              <a:sym typeface="游ゴシック"/>
            </a:endParaRPr>
          </a:p>
        </p:txBody>
      </p:sp>
      <p:sp>
        <p:nvSpPr>
          <p:cNvPr id="115" name="テキスト ボックス 114">
            <a:extLst>
              <a:ext uri="{FF2B5EF4-FFF2-40B4-BE49-F238E27FC236}">
                <a16:creationId xmlns:a16="http://schemas.microsoft.com/office/drawing/2014/main" id="{4D9A72F0-060B-409A-898F-1DE6830087F8}"/>
              </a:ext>
            </a:extLst>
          </p:cNvPr>
          <p:cNvSpPr txBox="1"/>
          <p:nvPr/>
        </p:nvSpPr>
        <p:spPr>
          <a:xfrm>
            <a:off x="10517569" y="6254993"/>
            <a:ext cx="96562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ja-JP" dirty="0">
                <a:solidFill>
                  <a:srgbClr val="221714"/>
                </a:solidFill>
                <a:ea typeface="+mj-ea"/>
                <a:cs typeface="游ゴシック"/>
                <a:sym typeface="游ゴシック"/>
              </a:rPr>
              <a:t>Graph</a:t>
            </a:r>
            <a:endParaRPr kumimoji="0" lang="ja-JP" altLang="en-US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ea typeface="+mj-ea"/>
              <a:cs typeface="游ゴシック"/>
              <a:sym typeface="游ゴシック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6655657B-6837-4932-A945-CFA531502474}"/>
              </a:ext>
            </a:extLst>
          </p:cNvPr>
          <p:cNvCxnSpPr>
            <a:cxnSpLocks/>
          </p:cNvCxnSpPr>
          <p:nvPr/>
        </p:nvCxnSpPr>
        <p:spPr>
          <a:xfrm>
            <a:off x="1495975" y="4865723"/>
            <a:ext cx="571789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7" name="直線コネクタ 46">
            <a:extLst>
              <a:ext uri="{FF2B5EF4-FFF2-40B4-BE49-F238E27FC236}">
                <a16:creationId xmlns:a16="http://schemas.microsoft.com/office/drawing/2014/main" id="{C1088862-D696-4B19-A25D-AE39A2905C06}"/>
              </a:ext>
            </a:extLst>
          </p:cNvPr>
          <p:cNvCxnSpPr>
            <a:cxnSpLocks/>
          </p:cNvCxnSpPr>
          <p:nvPr/>
        </p:nvCxnSpPr>
        <p:spPr>
          <a:xfrm>
            <a:off x="3002484" y="4865723"/>
            <a:ext cx="638886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9DDCE7E8-5565-4DDE-91D2-1DC19B3B5524}"/>
              </a:ext>
            </a:extLst>
          </p:cNvPr>
          <p:cNvCxnSpPr>
            <a:cxnSpLocks/>
          </p:cNvCxnSpPr>
          <p:nvPr/>
        </p:nvCxnSpPr>
        <p:spPr>
          <a:xfrm flipV="1">
            <a:off x="4644541" y="1537387"/>
            <a:ext cx="2837280" cy="2682715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1" name="直線コネクタ 60">
            <a:extLst>
              <a:ext uri="{FF2B5EF4-FFF2-40B4-BE49-F238E27FC236}">
                <a16:creationId xmlns:a16="http://schemas.microsoft.com/office/drawing/2014/main" id="{A8E28D8E-0802-4D6B-9C03-8583A7C1059A}"/>
              </a:ext>
            </a:extLst>
          </p:cNvPr>
          <p:cNvCxnSpPr>
            <a:cxnSpLocks/>
            <a:stCxn id="86" idx="3"/>
          </p:cNvCxnSpPr>
          <p:nvPr/>
        </p:nvCxnSpPr>
        <p:spPr>
          <a:xfrm flipV="1">
            <a:off x="4644541" y="3822390"/>
            <a:ext cx="2373919" cy="1304383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2" name="テキスト ボックス 111">
            <a:extLst>
              <a:ext uri="{FF2B5EF4-FFF2-40B4-BE49-F238E27FC236}">
                <a16:creationId xmlns:a16="http://schemas.microsoft.com/office/drawing/2014/main" id="{D5FB1585-D030-4BF6-8C58-264B459F1030}"/>
              </a:ext>
            </a:extLst>
          </p:cNvPr>
          <p:cNvSpPr txBox="1"/>
          <p:nvPr/>
        </p:nvSpPr>
        <p:spPr>
          <a:xfrm>
            <a:off x="7757722" y="3553709"/>
            <a:ext cx="2018805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ja-JP" dirty="0" err="1">
                <a:solidFill>
                  <a:srgbClr val="221714"/>
                </a:solidFill>
                <a:ea typeface="+mj-ea"/>
                <a:cs typeface="游ゴシック"/>
                <a:sym typeface="游ゴシック"/>
              </a:rPr>
              <a:t>Edge_timetable</a:t>
            </a:r>
            <a:endParaRPr kumimoji="0" lang="ja-JP" altLang="en-US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ea typeface="+mj-ea"/>
              <a:cs typeface="游ゴシック"/>
              <a:sym typeface="游ゴシック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8B452B3-5CB6-4E60-81FB-BAAC1E623F73}"/>
              </a:ext>
            </a:extLst>
          </p:cNvPr>
          <p:cNvSpPr txBox="1"/>
          <p:nvPr/>
        </p:nvSpPr>
        <p:spPr>
          <a:xfrm>
            <a:off x="10844039" y="2239667"/>
            <a:ext cx="96562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ja-JP" dirty="0">
                <a:solidFill>
                  <a:srgbClr val="221714"/>
                </a:solidFill>
                <a:ea typeface="+mj-ea"/>
                <a:cs typeface="游ゴシック"/>
                <a:sym typeface="游ゴシック"/>
              </a:rPr>
              <a:t>Edge</a:t>
            </a:r>
            <a:endParaRPr kumimoji="0" lang="ja-JP" altLang="en-US" sz="1800" b="0" i="0" u="none" strike="noStrike" cap="none" spc="0" normalizeH="0" baseline="0" dirty="0">
              <a:ln>
                <a:noFill/>
              </a:ln>
              <a:solidFill>
                <a:srgbClr val="221714"/>
              </a:solidFill>
              <a:effectLst/>
              <a:uFillTx/>
              <a:ea typeface="+mj-ea"/>
              <a:cs typeface="游ゴシック"/>
              <a:sym typeface="游ゴシック"/>
            </a:endParaRPr>
          </a:p>
        </p:txBody>
      </p:sp>
      <p:sp>
        <p:nvSpPr>
          <p:cNvPr id="71" name="テキスト ボックス 70">
            <a:extLst>
              <a:ext uri="{FF2B5EF4-FFF2-40B4-BE49-F238E27FC236}">
                <a16:creationId xmlns:a16="http://schemas.microsoft.com/office/drawing/2014/main" id="{809DA811-967A-42F5-89FF-D7E439F3A8E0}"/>
              </a:ext>
            </a:extLst>
          </p:cNvPr>
          <p:cNvSpPr txBox="1"/>
          <p:nvPr/>
        </p:nvSpPr>
        <p:spPr>
          <a:xfrm>
            <a:off x="381000" y="1270670"/>
            <a:ext cx="6487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ja-JP" dirty="0">
                <a:latin typeface="Helvetica" panose="020B0604020202020204" pitchFamily="34" charset="0"/>
                <a:ea typeface="BIZ UDPゴシック" panose="020B0400000000000000" pitchFamily="50" charset="-128"/>
              </a:rPr>
              <a:t>Connect Transaction data to Schedule data</a:t>
            </a:r>
          </a:p>
        </p:txBody>
      </p:sp>
    </p:spTree>
    <p:extLst>
      <p:ext uri="{BB962C8B-B14F-4D97-AF65-F5344CB8AC3E}">
        <p14:creationId xmlns:p14="http://schemas.microsoft.com/office/powerpoint/2010/main" val="271115663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piVaT92XG6OzmBszVvWA"/>
</p:tagLst>
</file>

<file path=ppt/theme/theme1.xml><?xml version="1.0" encoding="utf-8"?>
<a:theme xmlns:a="http://schemas.openxmlformats.org/drawingml/2006/main" name="MTJ">
  <a:themeElements>
    <a:clrScheme name="MTJ">
      <a:dk1>
        <a:srgbClr val="221714"/>
      </a:dk1>
      <a:lt1>
        <a:srgbClr val="FFFFFF"/>
      </a:lt1>
      <a:dk2>
        <a:srgbClr val="A7A7A7"/>
      </a:dk2>
      <a:lt2>
        <a:srgbClr val="535353"/>
      </a:lt2>
      <a:accent1>
        <a:srgbClr val="E4004E"/>
      </a:accent1>
      <a:accent2>
        <a:srgbClr val="3053A3"/>
      </a:accent2>
      <a:accent3>
        <a:srgbClr val="46A2DA"/>
      </a:accent3>
      <a:accent4>
        <a:srgbClr val="FFC000"/>
      </a:accent4>
      <a:accent5>
        <a:srgbClr val="275B7A"/>
      </a:accent5>
      <a:accent6>
        <a:srgbClr val="70AD47"/>
      </a:accent6>
      <a:hlink>
        <a:srgbClr val="0000FF"/>
      </a:hlink>
      <a:folHlink>
        <a:srgbClr val="FF00FF"/>
      </a:folHlink>
    </a:clrScheme>
    <a:fontScheme name="MTJ">
      <a:majorFont>
        <a:latin typeface="BIZ UDPGothic"/>
        <a:ea typeface="BIZ UDPGothic"/>
        <a:cs typeface="BIZ UDPGothic"/>
      </a:majorFont>
      <a:minorFont>
        <a:latin typeface="Helvetica"/>
        <a:ea typeface="Helvetica"/>
        <a:cs typeface="Helvetica"/>
      </a:minorFont>
    </a:fontScheme>
    <a:fmtScheme name="MTJ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<a:prstTxWarp prst="textNoShape">
          <a:avLst/>
        </a:prstTxWarp>
        <a:noAutofit/>
      </a:bodyPr>
      <a:lstStyle>
        <a:defPPr algn="ctr" hangingPunct="0">
          <a:defRPr kumimoji="0" sz="1600" b="1" dirty="0" err="1" smtClean="0">
            <a:solidFill>
              <a:schemeClr val="bg1"/>
            </a:solidFill>
            <a:latin typeface="Arial" panose="020B0604020202020204" pitchFamily="34" charset="0"/>
            <a:ea typeface="ＭＳ Ｐゴシック" panose="020B0600070205080204" pitchFamily="50" charset="-128"/>
            <a:cs typeface="Arial" panose="020B0604020202020204" pitchFamily="34" charset="0"/>
            <a:sym typeface="游ゴシック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221714"/>
            </a:solidFill>
            <a:effectLst/>
            <a:uFillTx/>
            <a:latin typeface="游ゴシック"/>
            <a:ea typeface="游ゴシック"/>
            <a:cs typeface="游ゴシック"/>
            <a:sym typeface="游ゴシック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FC005AE35A5EA4EABD0CF5E6467D2BD" ma:contentTypeVersion="7" ma:contentTypeDescription="新しいドキュメントを作成します。" ma:contentTypeScope="" ma:versionID="79af26cb895a5e914cb82744761599c5">
  <xsd:schema xmlns:xsd="http://www.w3.org/2001/XMLSchema" xmlns:xs="http://www.w3.org/2001/XMLSchema" xmlns:p="http://schemas.microsoft.com/office/2006/metadata/properties" xmlns:ns2="f78883dc-725a-4e83-9529-f4e21373dc16" targetNamespace="http://schemas.microsoft.com/office/2006/metadata/properties" ma:root="true" ma:fieldsID="d0b2b9886f7493723709f8a94383c31b" ns2:_="">
    <xsd:import namespace="f78883dc-725a-4e83-9529-f4e21373dc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8883dc-725a-4e83-9529-f4e21373dc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E3C608C-459B-4564-9AB9-0795B9D96E74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E23CB3A-A733-4DDC-9478-5B78FC7653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F3DE89-09F2-445D-9F4D-B2CBFCEBDB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8883dc-725a-4e83-9529-f4e21373dc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21</TotalTime>
  <Words>190</Words>
  <Application>Microsoft Office PowerPoint</Application>
  <PresentationFormat>ワイド画面</PresentationFormat>
  <Paragraphs>72</Paragraphs>
  <Slides>6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6</vt:i4>
      </vt:variant>
    </vt:vector>
  </HeadingPairs>
  <TitlesOfParts>
    <vt:vector size="17" baseType="lpstr">
      <vt:lpstr>BIZ UDPGothic B</vt:lpstr>
      <vt:lpstr>Meiryo UI</vt:lpstr>
      <vt:lpstr>MS PGothic</vt:lpstr>
      <vt:lpstr>游ゴシック</vt:lpstr>
      <vt:lpstr>游ゴシック Medium</vt:lpstr>
      <vt:lpstr>Arial</vt:lpstr>
      <vt:lpstr>Helvetica</vt:lpstr>
      <vt:lpstr>Wingdings</vt:lpstr>
      <vt:lpstr>MTJ</vt:lpstr>
      <vt:lpstr>think-cell スライド</vt:lpstr>
      <vt:lpstr>think-cell Slide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データ連携基盤について</vt:lpstr>
      <vt:lpstr>TraIIRe Data Forma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aS Tech Japan 事業概要</dc:title>
  <dc:creator>Amon Okabe</dc:creator>
  <cp:lastModifiedBy>荒居 孝紀</cp:lastModifiedBy>
  <cp:revision>465</cp:revision>
  <cp:lastPrinted>2019-10-30T02:48:17Z</cp:lastPrinted>
  <dcterms:created xsi:type="dcterms:W3CDTF">2019-04-29T11:57:42Z</dcterms:created>
  <dcterms:modified xsi:type="dcterms:W3CDTF">2021-05-22T10:0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C005AE35A5EA4EABD0CF5E6467D2BD</vt:lpwstr>
  </property>
</Properties>
</file>